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0" r:id="rId2"/>
  </p:sldMasterIdLst>
  <p:notesMasterIdLst>
    <p:notesMasterId r:id="rId19"/>
  </p:notesMasterIdLst>
  <p:handoutMasterIdLst>
    <p:handoutMasterId r:id="rId20"/>
  </p:handoutMasterIdLst>
  <p:sldIdLst>
    <p:sldId id="436" r:id="rId3"/>
    <p:sldId id="441" r:id="rId4"/>
    <p:sldId id="945621560" r:id="rId5"/>
    <p:sldId id="945621563" r:id="rId6"/>
    <p:sldId id="945621561" r:id="rId7"/>
    <p:sldId id="945621564" r:id="rId8"/>
    <p:sldId id="945621562" r:id="rId9"/>
    <p:sldId id="945621566" r:id="rId10"/>
    <p:sldId id="945621567" r:id="rId11"/>
    <p:sldId id="945621569" r:id="rId12"/>
    <p:sldId id="945621570" r:id="rId13"/>
    <p:sldId id="945621571" r:id="rId14"/>
    <p:sldId id="945621572" r:id="rId15"/>
    <p:sldId id="945621568" r:id="rId16"/>
    <p:sldId id="442" r:id="rId17"/>
    <p:sldId id="945621584"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shyap, Akshay" initials="AK" lastIdx="1" clrIdx="0">
    <p:extLst>
      <p:ext uri="{19B8F6BF-5375-455C-9EA6-DF929625EA0E}">
        <p15:presenceInfo xmlns:p15="http://schemas.microsoft.com/office/powerpoint/2012/main" userId="Kashyap, Aksha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p:scale>
          <a:sx n="62" d="100"/>
          <a:sy n="62" d="100"/>
        </p:scale>
        <p:origin x="828"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1-06-24T11:51:27.131" idx="1">
    <p:pos x="10" y="10"/>
    <p:text/>
    <p:extLst>
      <p:ext uri="{C676402C-5697-4E1C-873F-D02D1690AC5C}">
        <p15:threadingInfo xmlns:p15="http://schemas.microsoft.com/office/powerpoint/2012/main" timeZoneBias="-33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E14738D-F42D-40FE-834E-CEC8ECA2748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BF6E4FF-5236-41F1-9F35-7F22C31CFAA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F051B18-BCBD-4DD0-B7C9-E9F93581A3B3}" type="datetimeFigureOut">
              <a:rPr lang="en-US" smtClean="0"/>
              <a:t>6/24/2021</a:t>
            </a:fld>
            <a:endParaRPr lang="en-US"/>
          </a:p>
        </p:txBody>
      </p:sp>
      <p:sp>
        <p:nvSpPr>
          <p:cNvPr id="4" name="Footer Placeholder 3">
            <a:extLst>
              <a:ext uri="{FF2B5EF4-FFF2-40B4-BE49-F238E27FC236}">
                <a16:creationId xmlns:a16="http://schemas.microsoft.com/office/drawing/2014/main" id="{90CAAE44-88F5-476B-8209-78587AD8709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US"/>
              <a:t>Copyright @ 2020 Deloitte Development LLC. All rights reserved.</a:t>
            </a:r>
          </a:p>
        </p:txBody>
      </p:sp>
      <p:sp>
        <p:nvSpPr>
          <p:cNvPr id="5" name="Slide Number Placeholder 4">
            <a:extLst>
              <a:ext uri="{FF2B5EF4-FFF2-40B4-BE49-F238E27FC236}">
                <a16:creationId xmlns:a16="http://schemas.microsoft.com/office/drawing/2014/main" id="{7204A4C6-0F68-42F0-9EEB-EF0F066E3B6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6D9C384-1A69-4198-BB40-B17D6271EFB3}" type="slidenum">
              <a:rPr lang="en-US" smtClean="0"/>
              <a:t>‹#›</a:t>
            </a:fld>
            <a:endParaRPr lang="en-US"/>
          </a:p>
        </p:txBody>
      </p:sp>
    </p:spTree>
    <p:extLst>
      <p:ext uri="{BB962C8B-B14F-4D97-AF65-F5344CB8AC3E}">
        <p14:creationId xmlns:p14="http://schemas.microsoft.com/office/powerpoint/2010/main" val="273040631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BAE965-A903-49F8-8EA5-58D0CA4BFC07}" type="datetimeFigureOut">
              <a:rPr lang="en-US" smtClean="0"/>
              <a:t>6/2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en-US"/>
              <a:t>Copyright @ 2020 Deloitte Development LLC. All rights reserved.</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4309F9-3243-4F8B-A157-FBBF59F1A139}" type="slidenum">
              <a:rPr lang="en-US" smtClean="0"/>
              <a:t>‹#›</a:t>
            </a:fld>
            <a:endParaRPr lang="en-US"/>
          </a:p>
        </p:txBody>
      </p:sp>
    </p:spTree>
    <p:extLst>
      <p:ext uri="{BB962C8B-B14F-4D97-AF65-F5344CB8AC3E}">
        <p14:creationId xmlns:p14="http://schemas.microsoft.com/office/powerpoint/2010/main" val="3373821709"/>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 name="Footer Placeholder 4">
            <a:extLst>
              <a:ext uri="{FF2B5EF4-FFF2-40B4-BE49-F238E27FC236}">
                <a16:creationId xmlns:a16="http://schemas.microsoft.com/office/drawing/2014/main" id="{C6A29533-27D6-4B93-AB15-90407570E989}"/>
              </a:ext>
            </a:extLst>
          </p:cNvPr>
          <p:cNvSpPr>
            <a:spLocks noGrp="1"/>
          </p:cNvSpPr>
          <p:nvPr>
            <p:ph type="ftr" sz="quarter" idx="4"/>
          </p:nvPr>
        </p:nvSpPr>
        <p:spPr/>
        <p:txBody>
          <a:bodyPr/>
          <a:lstStyle/>
          <a:p>
            <a:r>
              <a:rPr lang="en-US"/>
              <a:t>Copyright @ 2020 Deloitte Development LLC. All rights reserved.</a:t>
            </a:r>
          </a:p>
        </p:txBody>
      </p:sp>
    </p:spTree>
    <p:extLst>
      <p:ext uri="{BB962C8B-B14F-4D97-AF65-F5344CB8AC3E}">
        <p14:creationId xmlns:p14="http://schemas.microsoft.com/office/powerpoint/2010/main" val="32557568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22591394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34146904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17863597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1517534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26881134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6926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2470333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24067528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32015745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26072962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31633060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26071973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5694089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40594139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E8421-9E0C-4B2F-B725-AAE1A226E65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BE5C0A0-C107-4C0A-B2A7-F2EF34504D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4E42EFE-D131-41EB-90FF-2B077C5BC7E9}"/>
              </a:ext>
            </a:extLst>
          </p:cNvPr>
          <p:cNvSpPr>
            <a:spLocks noGrp="1"/>
          </p:cNvSpPr>
          <p:nvPr>
            <p:ph type="dt" sz="half" idx="10"/>
          </p:nvPr>
        </p:nvSpPr>
        <p:spPr/>
        <p:txBody>
          <a:bodyPr/>
          <a:lstStyle/>
          <a:p>
            <a:fld id="{027657A0-8367-471F-8C53-E6D115780FA5}" type="datetime1">
              <a:rPr lang="en-US" smtClean="0"/>
              <a:t>6/24/2021</a:t>
            </a:fld>
            <a:endParaRPr lang="en-US"/>
          </a:p>
        </p:txBody>
      </p:sp>
      <p:sp>
        <p:nvSpPr>
          <p:cNvPr id="5" name="Footer Placeholder 4">
            <a:extLst>
              <a:ext uri="{FF2B5EF4-FFF2-40B4-BE49-F238E27FC236}">
                <a16:creationId xmlns:a16="http://schemas.microsoft.com/office/drawing/2014/main" id="{C518B598-F3A8-40E8-9847-11A11CC9A571}"/>
              </a:ext>
            </a:extLst>
          </p:cNvPr>
          <p:cNvSpPr>
            <a:spLocks noGrp="1"/>
          </p:cNvSpPr>
          <p:nvPr>
            <p:ph type="ftr" sz="quarter" idx="11"/>
          </p:nvPr>
        </p:nvSpPr>
        <p:spPr/>
        <p:txBody>
          <a:bodyPr/>
          <a:lstStyle/>
          <a:p>
            <a:r>
              <a:rPr lang="en-US"/>
              <a:t>Copyright @ 2020 Deloitte Development LLC. All rights reserved.</a:t>
            </a:r>
          </a:p>
        </p:txBody>
      </p:sp>
      <p:sp>
        <p:nvSpPr>
          <p:cNvPr id="6" name="Slide Number Placeholder 5">
            <a:extLst>
              <a:ext uri="{FF2B5EF4-FFF2-40B4-BE49-F238E27FC236}">
                <a16:creationId xmlns:a16="http://schemas.microsoft.com/office/drawing/2014/main" id="{29C6A894-213B-42E1-B981-33E5FAF8E284}"/>
              </a:ext>
            </a:extLst>
          </p:cNvPr>
          <p:cNvSpPr>
            <a:spLocks noGrp="1"/>
          </p:cNvSpPr>
          <p:nvPr>
            <p:ph type="sldNum" sz="quarter" idx="12"/>
          </p:nvPr>
        </p:nvSpPr>
        <p:spPr/>
        <p:txBody>
          <a:bodyPr/>
          <a:lstStyle/>
          <a:p>
            <a:fld id="{0378053D-D3D6-4900-B3A2-0AC1946A28D2}" type="slidenum">
              <a:rPr lang="en-US" smtClean="0"/>
              <a:t>‹#›</a:t>
            </a:fld>
            <a:endParaRPr lang="en-US"/>
          </a:p>
        </p:txBody>
      </p:sp>
    </p:spTree>
    <p:extLst>
      <p:ext uri="{BB962C8B-B14F-4D97-AF65-F5344CB8AC3E}">
        <p14:creationId xmlns:p14="http://schemas.microsoft.com/office/powerpoint/2010/main" val="22635073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2F8EA-6E83-465A-BCFF-3E4997129D4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DE2A814-2399-4FE2-BEC4-3FE48D0AE5B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BF6142-F877-40C3-8C5F-A6A51D927C4C}"/>
              </a:ext>
            </a:extLst>
          </p:cNvPr>
          <p:cNvSpPr>
            <a:spLocks noGrp="1"/>
          </p:cNvSpPr>
          <p:nvPr>
            <p:ph type="dt" sz="half" idx="10"/>
          </p:nvPr>
        </p:nvSpPr>
        <p:spPr/>
        <p:txBody>
          <a:bodyPr/>
          <a:lstStyle/>
          <a:p>
            <a:fld id="{0609B428-6236-4EFD-9E3E-AC6B57CA4D73}" type="datetime1">
              <a:rPr lang="en-US" smtClean="0"/>
              <a:t>6/24/2021</a:t>
            </a:fld>
            <a:endParaRPr lang="en-US"/>
          </a:p>
        </p:txBody>
      </p:sp>
      <p:sp>
        <p:nvSpPr>
          <p:cNvPr id="5" name="Footer Placeholder 4">
            <a:extLst>
              <a:ext uri="{FF2B5EF4-FFF2-40B4-BE49-F238E27FC236}">
                <a16:creationId xmlns:a16="http://schemas.microsoft.com/office/drawing/2014/main" id="{CEC7E8C5-8C27-4424-A4FA-C3B4E4957B9D}"/>
              </a:ext>
            </a:extLst>
          </p:cNvPr>
          <p:cNvSpPr>
            <a:spLocks noGrp="1"/>
          </p:cNvSpPr>
          <p:nvPr>
            <p:ph type="ftr" sz="quarter" idx="11"/>
          </p:nvPr>
        </p:nvSpPr>
        <p:spPr/>
        <p:txBody>
          <a:bodyPr/>
          <a:lstStyle/>
          <a:p>
            <a:r>
              <a:rPr lang="en-US"/>
              <a:t>Copyright @ 2020 Deloitte Development LLC. All rights reserved.</a:t>
            </a:r>
          </a:p>
        </p:txBody>
      </p:sp>
      <p:sp>
        <p:nvSpPr>
          <p:cNvPr id="6" name="Slide Number Placeholder 5">
            <a:extLst>
              <a:ext uri="{FF2B5EF4-FFF2-40B4-BE49-F238E27FC236}">
                <a16:creationId xmlns:a16="http://schemas.microsoft.com/office/drawing/2014/main" id="{C3002B49-C657-4757-85A0-CC172C33F3B2}"/>
              </a:ext>
            </a:extLst>
          </p:cNvPr>
          <p:cNvSpPr>
            <a:spLocks noGrp="1"/>
          </p:cNvSpPr>
          <p:nvPr>
            <p:ph type="sldNum" sz="quarter" idx="12"/>
          </p:nvPr>
        </p:nvSpPr>
        <p:spPr/>
        <p:txBody>
          <a:bodyPr/>
          <a:lstStyle/>
          <a:p>
            <a:fld id="{0378053D-D3D6-4900-B3A2-0AC1946A28D2}" type="slidenum">
              <a:rPr lang="en-US" smtClean="0"/>
              <a:t>‹#›</a:t>
            </a:fld>
            <a:endParaRPr lang="en-US"/>
          </a:p>
        </p:txBody>
      </p:sp>
    </p:spTree>
    <p:extLst>
      <p:ext uri="{BB962C8B-B14F-4D97-AF65-F5344CB8AC3E}">
        <p14:creationId xmlns:p14="http://schemas.microsoft.com/office/powerpoint/2010/main" val="41477959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8828D4F-1D67-4847-92B3-FDA9C55E322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1869AF1-7DDC-4E32-B149-B19D63A09DF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4366712-BDB4-4C6E-BC0A-620F42A77877}"/>
              </a:ext>
            </a:extLst>
          </p:cNvPr>
          <p:cNvSpPr>
            <a:spLocks noGrp="1"/>
          </p:cNvSpPr>
          <p:nvPr>
            <p:ph type="dt" sz="half" idx="10"/>
          </p:nvPr>
        </p:nvSpPr>
        <p:spPr/>
        <p:txBody>
          <a:bodyPr/>
          <a:lstStyle/>
          <a:p>
            <a:fld id="{A9D329BD-FBDA-4DC1-AB49-FEEF49415A93}" type="datetime1">
              <a:rPr lang="en-US" smtClean="0"/>
              <a:t>6/24/2021</a:t>
            </a:fld>
            <a:endParaRPr lang="en-US"/>
          </a:p>
        </p:txBody>
      </p:sp>
      <p:sp>
        <p:nvSpPr>
          <p:cNvPr id="5" name="Footer Placeholder 4">
            <a:extLst>
              <a:ext uri="{FF2B5EF4-FFF2-40B4-BE49-F238E27FC236}">
                <a16:creationId xmlns:a16="http://schemas.microsoft.com/office/drawing/2014/main" id="{DEC79111-1F69-4D52-A1A1-1E4C82778EDB}"/>
              </a:ext>
            </a:extLst>
          </p:cNvPr>
          <p:cNvSpPr>
            <a:spLocks noGrp="1"/>
          </p:cNvSpPr>
          <p:nvPr>
            <p:ph type="ftr" sz="quarter" idx="11"/>
          </p:nvPr>
        </p:nvSpPr>
        <p:spPr/>
        <p:txBody>
          <a:bodyPr/>
          <a:lstStyle/>
          <a:p>
            <a:r>
              <a:rPr lang="en-US"/>
              <a:t>Copyright @ 2020 Deloitte Development LLC. All rights reserved.</a:t>
            </a:r>
          </a:p>
        </p:txBody>
      </p:sp>
      <p:sp>
        <p:nvSpPr>
          <p:cNvPr id="6" name="Slide Number Placeholder 5">
            <a:extLst>
              <a:ext uri="{FF2B5EF4-FFF2-40B4-BE49-F238E27FC236}">
                <a16:creationId xmlns:a16="http://schemas.microsoft.com/office/drawing/2014/main" id="{63CCDD30-0FE8-4E1A-9A5D-8CA12B1F20D1}"/>
              </a:ext>
            </a:extLst>
          </p:cNvPr>
          <p:cNvSpPr>
            <a:spLocks noGrp="1"/>
          </p:cNvSpPr>
          <p:nvPr>
            <p:ph type="sldNum" sz="quarter" idx="12"/>
          </p:nvPr>
        </p:nvSpPr>
        <p:spPr/>
        <p:txBody>
          <a:bodyPr/>
          <a:lstStyle/>
          <a:p>
            <a:fld id="{0378053D-D3D6-4900-B3A2-0AC1946A28D2}" type="slidenum">
              <a:rPr lang="en-US" smtClean="0"/>
              <a:t>‹#›</a:t>
            </a:fld>
            <a:endParaRPr lang="en-US"/>
          </a:p>
        </p:txBody>
      </p:sp>
    </p:spTree>
    <p:extLst>
      <p:ext uri="{BB962C8B-B14F-4D97-AF65-F5344CB8AC3E}">
        <p14:creationId xmlns:p14="http://schemas.microsoft.com/office/powerpoint/2010/main" val="16644718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title &amp; 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2921" y="1665291"/>
            <a:ext cx="9348787" cy="4633910"/>
          </a:xfrm>
          <a:prstGeom prst="rect">
            <a:avLst/>
          </a:prstGeom>
        </p:spPr>
        <p:txBody>
          <a:bodyPr>
            <a:normAutofit/>
          </a:bodyPr>
          <a:lstStyle>
            <a:lvl1pPr>
              <a:tabLst>
                <a:tab pos="6729245" algn="r"/>
              </a:tabLst>
              <a:defRPr sz="1300"/>
            </a:lvl1pPr>
            <a:lvl2pPr>
              <a:tabLst>
                <a:tab pos="6729245" algn="r"/>
              </a:tabLst>
              <a:defRPr sz="1300"/>
            </a:lvl2pPr>
            <a:lvl3pPr>
              <a:tabLst>
                <a:tab pos="6729245" algn="r"/>
              </a:tabLst>
              <a:defRPr sz="1300"/>
            </a:lvl3pPr>
            <a:lvl4pPr>
              <a:tabLst>
                <a:tab pos="6729245" algn="r"/>
              </a:tabLst>
              <a:defRPr sz="1300"/>
            </a:lvl4pPr>
            <a:lvl5pPr>
              <a:tabLst>
                <a:tab pos="5029074" algn="r"/>
              </a:tabLst>
              <a:defRPr sz="1300" baseline="0"/>
            </a:lvl5pPr>
            <a:lvl6pPr>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8">
            <a:extLst>
              <a:ext uri="{FF2B5EF4-FFF2-40B4-BE49-F238E27FC236}">
                <a16:creationId xmlns:a16="http://schemas.microsoft.com/office/drawing/2014/main" id="{B4464A84-542A-4D1A-8583-EEE0342E31DC}"/>
              </a:ext>
            </a:extLst>
          </p:cNvPr>
          <p:cNvSpPr>
            <a:spLocks noGrp="1"/>
          </p:cNvSpPr>
          <p:nvPr>
            <p:ph type="body" sz="quarter" idx="21"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B12EEE0C-4EE5-49C0-A99D-660B1A86B51D}"/>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000">
                <a:latin typeface="+mj-lt"/>
              </a:defRPr>
            </a:lvl1pPr>
          </a:lstStyle>
          <a:p>
            <a:r>
              <a:rPr lang="en-US" dirty="0"/>
              <a:t>Click to add title</a:t>
            </a:r>
          </a:p>
        </p:txBody>
      </p:sp>
    </p:spTree>
    <p:extLst>
      <p:ext uri="{BB962C8B-B14F-4D97-AF65-F5344CB8AC3E}">
        <p14:creationId xmlns:p14="http://schemas.microsoft.com/office/powerpoint/2010/main" val="175788235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0" y="200177"/>
            <a:ext cx="12192000" cy="775778"/>
          </a:xfrm>
          <a:prstGeom prst="rect">
            <a:avLst/>
          </a:prstGeom>
        </p:spPr>
        <p:txBody>
          <a:bodyPr vert="horz" lIns="91440" tIns="45720" rIns="91440" bIns="45720" rtlCol="0" anchor="ctr">
            <a:normAutofit/>
          </a:bodyPr>
          <a:lstStyle>
            <a:lvl1pPr algn="ctr">
              <a:defRPr sz="4800" b="1">
                <a:solidFill>
                  <a:schemeClr val="tx1">
                    <a:lumMod val="65000"/>
                    <a:lumOff val="35000"/>
                  </a:schemeClr>
                </a:solidFill>
              </a:defRPr>
            </a:lvl1pPr>
          </a:lstStyle>
          <a:p>
            <a:r>
              <a:rPr lang="en-US" dirty="0"/>
              <a:t>Click to edit Master title style</a:t>
            </a:r>
          </a:p>
        </p:txBody>
      </p:sp>
      <p:sp>
        <p:nvSpPr>
          <p:cNvPr id="8" name="Rectangle 6">
            <a:extLst>
              <a:ext uri="{FF2B5EF4-FFF2-40B4-BE49-F238E27FC236}">
                <a16:creationId xmlns:a16="http://schemas.microsoft.com/office/drawing/2014/main" id="{55674156-3125-48CE-B7AD-16F5FF6CA05A}"/>
              </a:ext>
            </a:extLst>
          </p:cNvPr>
          <p:cNvSpPr/>
          <p:nvPr userDrawn="1"/>
        </p:nvSpPr>
        <p:spPr>
          <a:xfrm>
            <a:off x="0" y="6597352"/>
            <a:ext cx="12192000" cy="260648"/>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10" name="텍스트 개체 틀 2">
            <a:extLst>
              <a:ext uri="{FF2B5EF4-FFF2-40B4-BE49-F238E27FC236}">
                <a16:creationId xmlns:a16="http://schemas.microsoft.com/office/drawing/2014/main" id="{BEA53C6E-B822-48C1-AE43-123E9E431F64}"/>
              </a:ext>
            </a:extLst>
          </p:cNvPr>
          <p:cNvSpPr>
            <a:spLocks noGrp="1"/>
          </p:cNvSpPr>
          <p:nvPr>
            <p:ph type="body" sz="quarter" idx="41" hasCustomPrompt="1"/>
          </p:nvPr>
        </p:nvSpPr>
        <p:spPr>
          <a:xfrm>
            <a:off x="0" y="1005381"/>
            <a:ext cx="12192000" cy="419379"/>
          </a:xfrm>
          <a:prstGeom prst="rect">
            <a:avLst/>
          </a:prstGeom>
        </p:spPr>
        <p:txBody>
          <a:bodyPr anchor="ctr"/>
          <a:lstStyle>
            <a:lvl1pPr marL="0" marR="0" indent="0" algn="ctr" defTabSz="914400" rtl="0" eaLnBrk="1" fontAlgn="auto" latinLnBrk="1" hangingPunct="1">
              <a:lnSpc>
                <a:spcPct val="90000"/>
              </a:lnSpc>
              <a:spcBef>
                <a:spcPts val="1000"/>
              </a:spcBef>
              <a:spcAft>
                <a:spcPts val="0"/>
              </a:spcAft>
              <a:buClrTx/>
              <a:buSzTx/>
              <a:buFontTx/>
              <a:buNone/>
              <a:tabLst/>
              <a:defRPr sz="2400" b="0">
                <a:solidFill>
                  <a:schemeClr val="tx1">
                    <a:lumMod val="65000"/>
                    <a:lumOff val="35000"/>
                  </a:schemeClr>
                </a:solidFill>
              </a:defRPr>
            </a:lvl1pPr>
          </a:lstStyle>
          <a:p>
            <a:pPr marL="0" marR="0" lvl="0" indent="0" algn="ctr" defTabSz="914400" rtl="0" eaLnBrk="1" fontAlgn="auto" latinLnBrk="1" hangingPunct="1">
              <a:lnSpc>
                <a:spcPct val="90000"/>
              </a:lnSpc>
              <a:spcBef>
                <a:spcPts val="1000"/>
              </a:spcBef>
              <a:spcAft>
                <a:spcPts val="0"/>
              </a:spcAft>
              <a:buClrTx/>
              <a:buSzTx/>
              <a:buFontTx/>
              <a:buNone/>
              <a:tabLst/>
              <a:defRPr/>
            </a:pPr>
            <a:r>
              <a:rPr lang="en-US" altLang="ko-KR" dirty="0"/>
              <a:t>Subtitle in this line</a:t>
            </a:r>
            <a:endParaRPr lang="ko-KR" altLang="en-US" dirty="0"/>
          </a:p>
        </p:txBody>
      </p:sp>
    </p:spTree>
    <p:extLst>
      <p:ext uri="{BB962C8B-B14F-4D97-AF65-F5344CB8AC3E}">
        <p14:creationId xmlns:p14="http://schemas.microsoft.com/office/powerpoint/2010/main" val="11457604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29915952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2400"/>
              </a:lnSpc>
              <a:defRPr sz="24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05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C17D6D49-40DB-4B5E-91C7-B12BED91DDA4}"/>
              </a:ext>
            </a:extLst>
          </p:cNvPr>
          <p:cNvGrpSpPr/>
          <p:nvPr userDrawn="1"/>
        </p:nvGrpSpPr>
        <p:grpSpPr>
          <a:xfrm>
            <a:off x="503988" y="378000"/>
            <a:ext cx="2160000" cy="307976"/>
            <a:chOff x="398463" y="404813"/>
            <a:chExt cx="1627187" cy="307976"/>
          </a:xfrm>
          <a:solidFill>
            <a:schemeClr val="bg1"/>
          </a:solidFill>
        </p:grpSpPr>
        <p:sp>
          <p:nvSpPr>
            <p:cNvPr id="17" name="Oval 5">
              <a:extLst>
                <a:ext uri="{FF2B5EF4-FFF2-40B4-BE49-F238E27FC236}">
                  <a16:creationId xmlns:a16="http://schemas.microsoft.com/office/drawing/2014/main" id="{2B56F000-79C0-4179-8524-D9ACDA40DE38}"/>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83CED6E8-0988-4503-8A9C-7978FFC381E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2C687D43-60C7-43AB-8911-DA778A3C21F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8">
              <a:extLst>
                <a:ext uri="{FF2B5EF4-FFF2-40B4-BE49-F238E27FC236}">
                  <a16:creationId xmlns:a16="http://schemas.microsoft.com/office/drawing/2014/main" id="{7E6A62ED-7286-474D-94F4-70E263F1235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Rectangle 9">
              <a:extLst>
                <a:ext uri="{FF2B5EF4-FFF2-40B4-BE49-F238E27FC236}">
                  <a16:creationId xmlns:a16="http://schemas.microsoft.com/office/drawing/2014/main" id="{04C66DE6-1937-4416-B991-2E18A61B265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2" name="Rectangle 10">
              <a:extLst>
                <a:ext uri="{FF2B5EF4-FFF2-40B4-BE49-F238E27FC236}">
                  <a16:creationId xmlns:a16="http://schemas.microsoft.com/office/drawing/2014/main" id="{DB34AD3A-4C9A-421F-B1CB-0CC3CE3E882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3" name="Freeform 11">
              <a:extLst>
                <a:ext uri="{FF2B5EF4-FFF2-40B4-BE49-F238E27FC236}">
                  <a16:creationId xmlns:a16="http://schemas.microsoft.com/office/drawing/2014/main" id="{4BEAFDCD-F937-4438-BAD2-7E961511BC62}"/>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Freeform 12">
              <a:extLst>
                <a:ext uri="{FF2B5EF4-FFF2-40B4-BE49-F238E27FC236}">
                  <a16:creationId xmlns:a16="http://schemas.microsoft.com/office/drawing/2014/main" id="{0518B2C5-6FC4-4210-8C90-05C2859C1F8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5" name="Freeform 13">
              <a:extLst>
                <a:ext uri="{FF2B5EF4-FFF2-40B4-BE49-F238E27FC236}">
                  <a16:creationId xmlns:a16="http://schemas.microsoft.com/office/drawing/2014/main" id="{D8243B4B-C757-43C3-AF9F-089552AEBB8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6" name="Freeform 14">
              <a:extLst>
                <a:ext uri="{FF2B5EF4-FFF2-40B4-BE49-F238E27FC236}">
                  <a16:creationId xmlns:a16="http://schemas.microsoft.com/office/drawing/2014/main" id="{3DAE9BC0-0457-4CD3-A551-64C8347B418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19525430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05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2400"/>
              </a:lnSpc>
              <a:defRPr sz="24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16" name="Group 15">
            <a:extLst>
              <a:ext uri="{FF2B5EF4-FFF2-40B4-BE49-F238E27FC236}">
                <a16:creationId xmlns:a16="http://schemas.microsoft.com/office/drawing/2014/main" id="{A182227E-579E-4532-A5CC-BAC597A2EB71}"/>
              </a:ext>
            </a:extLst>
          </p:cNvPr>
          <p:cNvGrpSpPr/>
          <p:nvPr userDrawn="1"/>
        </p:nvGrpSpPr>
        <p:grpSpPr>
          <a:xfrm>
            <a:off x="503988" y="378000"/>
            <a:ext cx="2160000" cy="307976"/>
            <a:chOff x="398463" y="404813"/>
            <a:chExt cx="1627187" cy="307976"/>
          </a:xfrm>
          <a:solidFill>
            <a:schemeClr val="bg1"/>
          </a:solidFill>
        </p:grpSpPr>
        <p:sp>
          <p:nvSpPr>
            <p:cNvPr id="18" name="Oval 5">
              <a:extLst>
                <a:ext uri="{FF2B5EF4-FFF2-40B4-BE49-F238E27FC236}">
                  <a16:creationId xmlns:a16="http://schemas.microsoft.com/office/drawing/2014/main" id="{39C72C34-6FFB-4CE7-B304-C8C74BF6C368}"/>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6">
              <a:extLst>
                <a:ext uri="{FF2B5EF4-FFF2-40B4-BE49-F238E27FC236}">
                  <a16:creationId xmlns:a16="http://schemas.microsoft.com/office/drawing/2014/main" id="{8DD3099C-72C7-4FA0-86A0-B67C3254635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Rectangle 7">
              <a:extLst>
                <a:ext uri="{FF2B5EF4-FFF2-40B4-BE49-F238E27FC236}">
                  <a16:creationId xmlns:a16="http://schemas.microsoft.com/office/drawing/2014/main" id="{A346B900-C0DF-411B-8CA4-F1F42FADD5E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Freeform 8">
              <a:extLst>
                <a:ext uri="{FF2B5EF4-FFF2-40B4-BE49-F238E27FC236}">
                  <a16:creationId xmlns:a16="http://schemas.microsoft.com/office/drawing/2014/main" id="{613AA319-AFB1-42C9-901B-8EDCF290F8E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2" name="Rectangle 9">
              <a:extLst>
                <a:ext uri="{FF2B5EF4-FFF2-40B4-BE49-F238E27FC236}">
                  <a16:creationId xmlns:a16="http://schemas.microsoft.com/office/drawing/2014/main" id="{7C98F536-510C-46EE-B359-F810D5B655A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3" name="Rectangle 10">
              <a:extLst>
                <a:ext uri="{FF2B5EF4-FFF2-40B4-BE49-F238E27FC236}">
                  <a16:creationId xmlns:a16="http://schemas.microsoft.com/office/drawing/2014/main" id="{DCBFA1F5-173A-441A-A6FD-71FCDBF30A8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Freeform 11">
              <a:extLst>
                <a:ext uri="{FF2B5EF4-FFF2-40B4-BE49-F238E27FC236}">
                  <a16:creationId xmlns:a16="http://schemas.microsoft.com/office/drawing/2014/main" id="{1083DD0E-D155-404B-A6D6-B4804E93F158}"/>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5" name="Freeform 12">
              <a:extLst>
                <a:ext uri="{FF2B5EF4-FFF2-40B4-BE49-F238E27FC236}">
                  <a16:creationId xmlns:a16="http://schemas.microsoft.com/office/drawing/2014/main" id="{953D3259-EB90-4A35-B743-E514431BA3F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6" name="Freeform 13">
              <a:extLst>
                <a:ext uri="{FF2B5EF4-FFF2-40B4-BE49-F238E27FC236}">
                  <a16:creationId xmlns:a16="http://schemas.microsoft.com/office/drawing/2014/main" id="{4FDAED7B-04A0-4660-92A8-D8107837CA0B}"/>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7" name="Freeform 14">
              <a:extLst>
                <a:ext uri="{FF2B5EF4-FFF2-40B4-BE49-F238E27FC236}">
                  <a16:creationId xmlns:a16="http://schemas.microsoft.com/office/drawing/2014/main" id="{137EB39F-D265-46F7-A030-ED8CFA46BBD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421129835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6"/>
            <a:ext cx="10541000" cy="1592403"/>
          </a:xfrm>
          <a:prstGeom prst="rect">
            <a:avLst/>
          </a:prstGeom>
        </p:spPr>
        <p:txBody>
          <a:bodyPr anchor="b"/>
          <a:lstStyle>
            <a:lvl1pPr>
              <a:lnSpc>
                <a:spcPct val="95000"/>
              </a:lnSpc>
              <a:defRPr sz="27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27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28606600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05670"/>
            <a:ext cx="10418233" cy="1592403"/>
          </a:xfrm>
          <a:prstGeom prst="rect">
            <a:avLst/>
          </a:prstGeom>
        </p:spPr>
        <p:txBody>
          <a:bodyPr anchor="b"/>
          <a:lstStyle>
            <a:lvl1pPr>
              <a:lnSpc>
                <a:spcPct val="95000"/>
              </a:lnSpc>
              <a:defRPr sz="27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27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52A60FA-C95E-401E-9AF3-D27C8C88BCCB}"/>
              </a:ext>
            </a:extLst>
          </p:cNvPr>
          <p:cNvSpPr txBox="1"/>
          <p:nvPr/>
        </p:nvSpPr>
        <p:spPr>
          <a:xfrm>
            <a:off x="6335184" y="6477002"/>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CA24B28E-5B13-4779-8D72-C52A20B99FE7}"/>
              </a:ext>
            </a:extLst>
          </p:cNvPr>
          <p:cNvSpPr txBox="1"/>
          <p:nvPr/>
        </p:nvSpPr>
        <p:spPr>
          <a:xfrm>
            <a:off x="501649" y="6477000"/>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0 Deloitte Development LLC. All rights reserved.</a:t>
            </a:r>
          </a:p>
        </p:txBody>
      </p:sp>
      <p:sp>
        <p:nvSpPr>
          <p:cNvPr id="9" name="TextBox 8">
            <a:extLst>
              <a:ext uri="{FF2B5EF4-FFF2-40B4-BE49-F238E27FC236}">
                <a16:creationId xmlns:a16="http://schemas.microsoft.com/office/drawing/2014/main" id="{6C32543E-E807-47A4-A234-D5C7012187B4}"/>
              </a:ext>
            </a:extLst>
          </p:cNvPr>
          <p:cNvSpPr txBox="1"/>
          <p:nvPr/>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3866A349-D016-439D-A265-9A113E0DC1FD}"/>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841140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05670"/>
            <a:ext cx="10418233" cy="1592403"/>
          </a:xfrm>
          <a:prstGeom prst="rect">
            <a:avLst/>
          </a:prstGeom>
        </p:spPr>
        <p:txBody>
          <a:bodyPr anchor="b"/>
          <a:lstStyle>
            <a:lvl1pPr>
              <a:lnSpc>
                <a:spcPct val="95000"/>
              </a:lnSpc>
              <a:defRPr sz="27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27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E8E60749-A3E0-4E09-BF50-6D6B361BEF91}"/>
              </a:ext>
            </a:extLst>
          </p:cNvPr>
          <p:cNvSpPr txBox="1"/>
          <p:nvPr/>
        </p:nvSpPr>
        <p:spPr>
          <a:xfrm>
            <a:off x="6335184" y="6477002"/>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2AD12011-8F73-49BB-8C12-BDC820477529}"/>
              </a:ext>
            </a:extLst>
          </p:cNvPr>
          <p:cNvSpPr txBox="1"/>
          <p:nvPr/>
        </p:nvSpPr>
        <p:spPr>
          <a:xfrm>
            <a:off x="501649" y="6477000"/>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0 Deloitte Development LLC. All rights reserved.</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CEFB851A-9A52-4D1A-9531-091A228B7093}"/>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109012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00149D-2346-4798-B80E-7F59DFF41A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0EF8E27-6DA1-493D-8152-89803E072A0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6CCE3A9-3259-4D2E-8A3E-AE3B9CB6CBF2}"/>
              </a:ext>
            </a:extLst>
          </p:cNvPr>
          <p:cNvSpPr>
            <a:spLocks noGrp="1"/>
          </p:cNvSpPr>
          <p:nvPr>
            <p:ph type="dt" sz="half" idx="10"/>
          </p:nvPr>
        </p:nvSpPr>
        <p:spPr/>
        <p:txBody>
          <a:bodyPr/>
          <a:lstStyle/>
          <a:p>
            <a:fld id="{BEACFB2D-6247-4A10-8153-3A50BEE351E2}" type="datetime1">
              <a:rPr lang="en-US" smtClean="0"/>
              <a:t>6/24/2021</a:t>
            </a:fld>
            <a:endParaRPr lang="en-US"/>
          </a:p>
        </p:txBody>
      </p:sp>
      <p:sp>
        <p:nvSpPr>
          <p:cNvPr id="5" name="Footer Placeholder 4">
            <a:extLst>
              <a:ext uri="{FF2B5EF4-FFF2-40B4-BE49-F238E27FC236}">
                <a16:creationId xmlns:a16="http://schemas.microsoft.com/office/drawing/2014/main" id="{814066DB-7C4A-46A5-9810-D5D52880ABC6}"/>
              </a:ext>
            </a:extLst>
          </p:cNvPr>
          <p:cNvSpPr>
            <a:spLocks noGrp="1"/>
          </p:cNvSpPr>
          <p:nvPr>
            <p:ph type="ftr" sz="quarter" idx="11"/>
          </p:nvPr>
        </p:nvSpPr>
        <p:spPr/>
        <p:txBody>
          <a:bodyPr/>
          <a:lstStyle/>
          <a:p>
            <a:r>
              <a:rPr lang="en-US"/>
              <a:t>Copyright @ 2020 Deloitte Development LLC. All rights reserved.</a:t>
            </a:r>
          </a:p>
        </p:txBody>
      </p:sp>
      <p:sp>
        <p:nvSpPr>
          <p:cNvPr id="6" name="Slide Number Placeholder 5">
            <a:extLst>
              <a:ext uri="{FF2B5EF4-FFF2-40B4-BE49-F238E27FC236}">
                <a16:creationId xmlns:a16="http://schemas.microsoft.com/office/drawing/2014/main" id="{75F7AEAD-C85D-467D-B3BA-A0B65DC611C9}"/>
              </a:ext>
            </a:extLst>
          </p:cNvPr>
          <p:cNvSpPr>
            <a:spLocks noGrp="1"/>
          </p:cNvSpPr>
          <p:nvPr>
            <p:ph type="sldNum" sz="quarter" idx="12"/>
          </p:nvPr>
        </p:nvSpPr>
        <p:spPr/>
        <p:txBody>
          <a:bodyPr/>
          <a:lstStyle/>
          <a:p>
            <a:fld id="{0378053D-D3D6-4900-B3A2-0AC1946A28D2}" type="slidenum">
              <a:rPr lang="en-US" smtClean="0"/>
              <a:t>‹#›</a:t>
            </a:fld>
            <a:endParaRPr lang="en-US"/>
          </a:p>
        </p:txBody>
      </p:sp>
    </p:spTree>
    <p:extLst>
      <p:ext uri="{BB962C8B-B14F-4D97-AF65-F5344CB8AC3E}">
        <p14:creationId xmlns:p14="http://schemas.microsoft.com/office/powerpoint/2010/main" val="29236201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65288"/>
            <a:ext cx="9277349" cy="4716462"/>
          </a:xfrm>
          <a:prstGeom prst="rect">
            <a:avLst/>
          </a:prstGeom>
        </p:spPr>
        <p:txBody>
          <a:bodyPr>
            <a:noAutofit/>
          </a:bodyPr>
          <a:lstStyle>
            <a:lvl1pPr marL="0" indent="0" algn="l">
              <a:spcBef>
                <a:spcPts val="2700"/>
              </a:spcBef>
              <a:buFontTx/>
              <a:buNone/>
              <a:defRPr sz="27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6630100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3" y="2052002"/>
            <a:ext cx="11188699" cy="4069013"/>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501653" y="1674088"/>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6"/>
            <a:ext cx="11188700" cy="260737"/>
          </a:xfrm>
        </p:spPr>
        <p:txBody>
          <a:bodyPr>
            <a:noAutofit/>
          </a:bodyPr>
          <a:lstStyle>
            <a:lvl1pPr>
              <a:spcAft>
                <a:spcPts val="0"/>
              </a:spcAft>
              <a:defRPr sz="675"/>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86797554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04775" indent="-104775" algn="l">
              <a:buClrTx/>
              <a:buSzPct val="100000"/>
              <a:buFont typeface="Arial" panose="020B0604020202020204" pitchFamily="34" charset="0"/>
              <a:buChar char="•"/>
              <a:defRPr>
                <a:latin typeface="+mn-lt"/>
              </a:defRPr>
            </a:lvl2pPr>
            <a:lvl3pPr marL="228600" indent="-104775" algn="l">
              <a:buClrTx/>
              <a:buSzPct val="100000"/>
              <a:buFont typeface="Arial" panose="020B0604020202020204" pitchFamily="34" charset="0"/>
              <a:buChar char="−"/>
              <a:defRPr>
                <a:latin typeface="+mn-lt"/>
              </a:defRPr>
            </a:lvl3pPr>
            <a:lvl4pPr marL="352425" indent="-104775" algn="l">
              <a:buClrTx/>
              <a:buSzPct val="100000"/>
              <a:buFont typeface="Arial" panose="020B0604020202020204" pitchFamily="34" charset="0"/>
              <a:buChar char="◦"/>
              <a:defRPr>
                <a:latin typeface="+mn-lt"/>
              </a:defRPr>
            </a:lvl4pPr>
            <a:lvl5pPr marL="476250" indent="-104775"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2" name="Title 1">
            <a:extLst>
              <a:ext uri="{FF2B5EF4-FFF2-40B4-BE49-F238E27FC236}">
                <a16:creationId xmlns:a16="http://schemas.microsoft.com/office/drawing/2014/main" id="{1FB52998-BAFF-4727-9F38-10E5378F1B94}"/>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6710213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2" y="1665289"/>
            <a:ext cx="9277349" cy="4716463"/>
          </a:xfrm>
          <a:prstGeom prst="rect">
            <a:avLst/>
          </a:prstGeom>
        </p:spPr>
        <p:txBody>
          <a:bodyPr>
            <a:noAutofit/>
          </a:bodyPr>
          <a:lstStyle>
            <a:lvl1pPr marL="0" indent="0" algn="l">
              <a:buFontTx/>
              <a:buNone/>
              <a:tabLst>
                <a:tab pos="5047060" algn="r"/>
              </a:tabLst>
              <a:defRPr>
                <a:latin typeface="+mn-lt"/>
              </a:defRPr>
            </a:lvl1pPr>
            <a:lvl2pPr marL="104775" indent="-104775" algn="l">
              <a:buClrTx/>
              <a:buSzPct val="100000"/>
              <a:buFont typeface="Arial" panose="020B0604020202020204" pitchFamily="34" charset="0"/>
              <a:buChar char="•"/>
              <a:tabLst>
                <a:tab pos="5047060" algn="r"/>
              </a:tabLst>
              <a:defRPr>
                <a:latin typeface="+mn-lt"/>
              </a:defRPr>
            </a:lvl2pPr>
            <a:lvl3pPr marL="228600" indent="-104775" algn="l">
              <a:buClrTx/>
              <a:buSzPct val="100000"/>
              <a:buFont typeface="Arial" panose="020B0604020202020204" pitchFamily="34" charset="0"/>
              <a:buChar char="−"/>
              <a:tabLst>
                <a:tab pos="5047060" algn="r"/>
              </a:tabLst>
              <a:defRPr>
                <a:latin typeface="+mn-lt"/>
              </a:defRPr>
            </a:lvl3pPr>
            <a:lvl4pPr marL="352425" indent="-104775" algn="l">
              <a:buClrTx/>
              <a:buSzPct val="100000"/>
              <a:buFont typeface="Arial" panose="020B0604020202020204" pitchFamily="34" charset="0"/>
              <a:buChar char="◦"/>
              <a:tabLst>
                <a:tab pos="5047060" algn="r"/>
              </a:tabLst>
              <a:defRPr>
                <a:latin typeface="+mn-lt"/>
              </a:defRPr>
            </a:lvl4pPr>
            <a:lvl5pPr marL="476250" indent="-104775" algn="l">
              <a:buClrTx/>
              <a:buSzPct val="100000"/>
              <a:buFont typeface="Arial" panose="020B0604020202020204" pitchFamily="34" charset="0"/>
              <a:buChar char="−"/>
              <a:tabLst>
                <a:tab pos="3771900" algn="r"/>
              </a:tabLst>
              <a:defRPr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952ED25F-F6FC-488E-B8A8-CFEA8E8A6FA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8230003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39"/>
              </a:spcBef>
              <a:defRPr sz="692">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416"/>
              </a:spcAft>
              <a:defRPr sz="727"/>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5289"/>
            <a:ext cx="7916331" cy="4716461"/>
          </a:xfrm>
        </p:spPr>
        <p:txBody>
          <a:bodyPr>
            <a:noAutofit/>
          </a:bodyPr>
          <a:lstStyle>
            <a:lvl1pPr marL="0" indent="0" algn="l">
              <a:spcBef>
                <a:spcPts val="1247"/>
              </a:spcBef>
              <a:buFontTx/>
              <a:buNone/>
              <a:defRPr/>
            </a:lvl1pPr>
            <a:lvl2pPr marL="104775" indent="-104775" algn="l">
              <a:buClrTx/>
              <a:buSzPct val="100000"/>
              <a:buFont typeface="Arial" panose="020B0604020202020204" pitchFamily="34" charset="0"/>
              <a:buChar char="•"/>
              <a:defRPr/>
            </a:lvl2pPr>
            <a:lvl3pPr marL="228600" indent="-104775" algn="l">
              <a:buClrTx/>
              <a:buSzPct val="100000"/>
              <a:buFont typeface="Arial" panose="020B0604020202020204" pitchFamily="34" charset="0"/>
              <a:buChar char="−"/>
              <a:defRPr/>
            </a:lvl3pPr>
            <a:lvl4pPr marL="352425" indent="-104775" algn="l">
              <a:buClrTx/>
              <a:buSzPct val="100000"/>
              <a:buFont typeface="Arial" panose="020B0604020202020204" pitchFamily="34" charset="0"/>
              <a:buChar char="◦"/>
              <a:defRPr/>
            </a:lvl4pPr>
            <a:lvl5pPr marL="476250" indent="-104775"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grpSp>
        <p:nvGrpSpPr>
          <p:cNvPr id="20" name="Group 19">
            <a:extLst>
              <a:ext uri="{FF2B5EF4-FFF2-40B4-BE49-F238E27FC236}">
                <a16:creationId xmlns:a16="http://schemas.microsoft.com/office/drawing/2014/main" id="{5C42E5B2-CB73-494C-AEDA-92DED9F00538}"/>
              </a:ext>
            </a:extLst>
          </p:cNvPr>
          <p:cNvGrpSpPr/>
          <p:nvPr userDrawn="1"/>
        </p:nvGrpSpPr>
        <p:grpSpPr>
          <a:xfrm>
            <a:off x="503988" y="378000"/>
            <a:ext cx="2160000" cy="307976"/>
            <a:chOff x="398463" y="404813"/>
            <a:chExt cx="1627187" cy="307976"/>
          </a:xfrm>
          <a:solidFill>
            <a:schemeClr val="tx1"/>
          </a:solidFill>
        </p:grpSpPr>
        <p:sp>
          <p:nvSpPr>
            <p:cNvPr id="21" name="Oval 5">
              <a:extLst>
                <a:ext uri="{FF2B5EF4-FFF2-40B4-BE49-F238E27FC236}">
                  <a16:creationId xmlns:a16="http://schemas.microsoft.com/office/drawing/2014/main" id="{12C1795B-758F-49A8-B043-04FA792E1D6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2" name="Freeform 6">
              <a:extLst>
                <a:ext uri="{FF2B5EF4-FFF2-40B4-BE49-F238E27FC236}">
                  <a16:creationId xmlns:a16="http://schemas.microsoft.com/office/drawing/2014/main" id="{D9AA27D9-1A62-421F-88B1-0CE6ECF6295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3" name="Rectangle 7">
              <a:extLst>
                <a:ext uri="{FF2B5EF4-FFF2-40B4-BE49-F238E27FC236}">
                  <a16:creationId xmlns:a16="http://schemas.microsoft.com/office/drawing/2014/main" id="{73F630E6-1CC2-4F70-9E09-307AE5304A6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Freeform 8">
              <a:extLst>
                <a:ext uri="{FF2B5EF4-FFF2-40B4-BE49-F238E27FC236}">
                  <a16:creationId xmlns:a16="http://schemas.microsoft.com/office/drawing/2014/main" id="{9AC6F5C8-3A68-44F5-9E0C-87C778EC58C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5" name="Rectangle 9">
              <a:extLst>
                <a:ext uri="{FF2B5EF4-FFF2-40B4-BE49-F238E27FC236}">
                  <a16:creationId xmlns:a16="http://schemas.microsoft.com/office/drawing/2014/main" id="{9FFFA535-59D5-4C7A-946D-D0B8DBCE44F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6" name="Rectangle 10">
              <a:extLst>
                <a:ext uri="{FF2B5EF4-FFF2-40B4-BE49-F238E27FC236}">
                  <a16:creationId xmlns:a16="http://schemas.microsoft.com/office/drawing/2014/main" id="{0017862E-6379-4667-AA8A-7BD697E18C8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7" name="Freeform 11">
              <a:extLst>
                <a:ext uri="{FF2B5EF4-FFF2-40B4-BE49-F238E27FC236}">
                  <a16:creationId xmlns:a16="http://schemas.microsoft.com/office/drawing/2014/main" id="{4317C5F5-036E-4011-8B7D-7B572620A95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8" name="Freeform 12">
              <a:extLst>
                <a:ext uri="{FF2B5EF4-FFF2-40B4-BE49-F238E27FC236}">
                  <a16:creationId xmlns:a16="http://schemas.microsoft.com/office/drawing/2014/main" id="{0A0D8CFF-8AD5-4D7F-B6B4-43E29B63DC3F}"/>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9" name="Freeform 13">
              <a:extLst>
                <a:ext uri="{FF2B5EF4-FFF2-40B4-BE49-F238E27FC236}">
                  <a16:creationId xmlns:a16="http://schemas.microsoft.com/office/drawing/2014/main" id="{B972A6DD-DDA7-4BEC-9AE0-CDBE22EF18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0" name="Freeform 14">
              <a:extLst>
                <a:ext uri="{FF2B5EF4-FFF2-40B4-BE49-F238E27FC236}">
                  <a16:creationId xmlns:a16="http://schemas.microsoft.com/office/drawing/2014/main" id="{B010F773-4463-4CEE-947C-340E5FBAC35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426852139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450351" y="1665289"/>
            <a:ext cx="6240000" cy="4716463"/>
          </a:xfrm>
        </p:spPr>
        <p:txBody>
          <a:bodyPr>
            <a:noAutofit/>
          </a:bodyPr>
          <a:lstStyle/>
          <a:p>
            <a:r>
              <a:rPr lang="en-US" noProof="0"/>
              <a:t>Click icon to add picture</a:t>
            </a:r>
            <a:endParaRPr lang="en-US" noProof="0" dirty="0"/>
          </a:p>
        </p:txBody>
      </p:sp>
      <p:sp>
        <p:nvSpPr>
          <p:cNvPr id="6" name="Content Placeholder 3"/>
          <p:cNvSpPr>
            <a:spLocks noGrp="1"/>
          </p:cNvSpPr>
          <p:nvPr>
            <p:ph sz="quarter" idx="10"/>
          </p:nvPr>
        </p:nvSpPr>
        <p:spPr>
          <a:xfrm>
            <a:off x="501652" y="1665289"/>
            <a:ext cx="4456429" cy="4716463"/>
          </a:xfrm>
          <a:prstGeom prst="rect">
            <a:avLst/>
          </a:prstGeom>
        </p:spPr>
        <p:txBody>
          <a:bodyPr>
            <a:noAutofit/>
          </a:bodyPr>
          <a:lstStyle>
            <a:lvl1pPr marL="0" indent="0" algn="l">
              <a:buFontTx/>
              <a:buNone/>
              <a:tabLst>
                <a:tab pos="3771900" algn="r"/>
              </a:tabLst>
              <a:defRPr>
                <a:latin typeface="+mn-lt"/>
              </a:defRPr>
            </a:lvl1pPr>
            <a:lvl2pPr marL="104775" indent="-104775" algn="l">
              <a:buClrTx/>
              <a:buSzPct val="100000"/>
              <a:buFont typeface="Arial" panose="020B0604020202020204" pitchFamily="34" charset="0"/>
              <a:buChar char="•"/>
              <a:tabLst>
                <a:tab pos="3771900" algn="r"/>
              </a:tabLst>
              <a:defRPr>
                <a:latin typeface="+mn-lt"/>
              </a:defRPr>
            </a:lvl2pPr>
            <a:lvl3pPr marL="228600" indent="-104775" algn="l">
              <a:buClrTx/>
              <a:buSzPct val="100000"/>
              <a:buFont typeface="Arial" panose="020B0604020202020204" pitchFamily="34" charset="0"/>
              <a:buChar char="−"/>
              <a:tabLst>
                <a:tab pos="3771900" algn="r"/>
              </a:tabLst>
              <a:defRPr>
                <a:latin typeface="+mn-lt"/>
              </a:defRPr>
            </a:lvl3pPr>
            <a:lvl4pPr marL="352425" indent="-104775" algn="l">
              <a:buClrTx/>
              <a:buSzPct val="100000"/>
              <a:buFont typeface="Arial" panose="020B0604020202020204" pitchFamily="34" charset="0"/>
              <a:buChar char="◦"/>
              <a:tabLst>
                <a:tab pos="3771900" algn="r"/>
              </a:tabLst>
              <a:defRPr>
                <a:latin typeface="+mn-lt"/>
              </a:defRPr>
            </a:lvl4pPr>
            <a:lvl5pPr marL="476250" indent="-104775" algn="l">
              <a:buClrTx/>
              <a:buSzPct val="100000"/>
              <a:buFont typeface="Arial" panose="020B0604020202020204" pitchFamily="34" charset="0"/>
              <a:buChar char="−"/>
              <a:tabLst>
                <a:tab pos="37719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a:extLst>
              <a:ext uri="{FF2B5EF4-FFF2-40B4-BE49-F238E27FC236}">
                <a16:creationId xmlns:a16="http://schemas.microsoft.com/office/drawing/2014/main" id="{81F4E88F-BEA2-49FD-AB3A-CCBC65363C81}"/>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82732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2" y="1665290"/>
            <a:ext cx="5305579" cy="4716461"/>
          </a:xfrm>
          <a:prstGeom prst="rect">
            <a:avLst/>
          </a:prstGeom>
        </p:spPr>
        <p:txBody>
          <a:bodyPr>
            <a:noAutofit/>
          </a:bodyPr>
          <a:lstStyle>
            <a:lvl1pPr marL="0" indent="0" algn="l">
              <a:buFontTx/>
              <a:buNone/>
              <a:tabLst>
                <a:tab pos="3771900" algn="r"/>
              </a:tabLst>
              <a:defRPr/>
            </a:lvl1pPr>
            <a:lvl2pPr marL="139700" indent="-139700" algn="l">
              <a:buClrTx/>
              <a:buSzPct val="100000"/>
              <a:buFont typeface="Arial" panose="020B0604020202020204" pitchFamily="34" charset="0"/>
              <a:buChar char="•"/>
              <a:tabLst>
                <a:tab pos="3771900" algn="r"/>
              </a:tabLst>
              <a:defRPr/>
            </a:lvl2pPr>
            <a:lvl3pPr marL="304800" indent="-139700" algn="l">
              <a:buClrTx/>
              <a:buSzPct val="100000"/>
              <a:buFont typeface="Arial" panose="020B0604020202020204" pitchFamily="34" charset="0"/>
              <a:buChar char="−"/>
              <a:tabLst>
                <a:tab pos="3771900" algn="r"/>
              </a:tabLst>
              <a:defRPr/>
            </a:lvl3pPr>
            <a:lvl4pPr marL="469900" indent="-139700" algn="l">
              <a:buClrTx/>
              <a:buSzPct val="100000"/>
              <a:buFont typeface="Arial" panose="020B0604020202020204" pitchFamily="34" charset="0"/>
              <a:buChar char="◦"/>
              <a:tabLst>
                <a:tab pos="3771900" algn="r"/>
              </a:tabLst>
              <a:defRPr/>
            </a:lvl4pPr>
            <a:lvl5pPr marL="635000" indent="-139700"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40" y="1665290"/>
            <a:ext cx="5322781" cy="4716461"/>
          </a:xfrm>
          <a:prstGeom prst="rect">
            <a:avLst/>
          </a:prstGeom>
        </p:spPr>
        <p:txBody>
          <a:bodyPr>
            <a:noAutofit/>
          </a:bodyPr>
          <a:lstStyle>
            <a:lvl1pPr marL="0" indent="0" algn="l">
              <a:buFontTx/>
              <a:buNone/>
              <a:tabLst>
                <a:tab pos="3771900" algn="r"/>
              </a:tabLst>
              <a:defRPr/>
            </a:lvl1pPr>
            <a:lvl2pPr marL="139700" indent="-139700" algn="l">
              <a:buClrTx/>
              <a:buSzPct val="100000"/>
              <a:buFont typeface="Arial" panose="020B0604020202020204" pitchFamily="34" charset="0"/>
              <a:buChar char="•"/>
              <a:tabLst>
                <a:tab pos="3771900" algn="r"/>
              </a:tabLst>
              <a:defRPr/>
            </a:lvl2pPr>
            <a:lvl3pPr marL="304800" indent="-139700" algn="l">
              <a:buClrTx/>
              <a:buSzPct val="100000"/>
              <a:buFont typeface="Arial" panose="020B0604020202020204" pitchFamily="34" charset="0"/>
              <a:buChar char="−"/>
              <a:tabLst>
                <a:tab pos="3771900" algn="r"/>
              </a:tabLst>
              <a:defRPr/>
            </a:lvl3pPr>
            <a:lvl4pPr marL="469900" indent="-139700" algn="l">
              <a:buClrTx/>
              <a:buSzPct val="100000"/>
              <a:buFont typeface="Arial" panose="020B0604020202020204" pitchFamily="34" charset="0"/>
              <a:buChar char="◦"/>
              <a:tabLst>
                <a:tab pos="3771900" algn="r"/>
              </a:tabLst>
              <a:defRPr/>
            </a:lvl4pPr>
            <a:lvl5pPr marL="635000" indent="-139700"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07386745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91"/>
            <a:ext cx="5355165" cy="4455725"/>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1" y="6121016"/>
            <a:ext cx="11188700" cy="260737"/>
          </a:xfrm>
        </p:spPr>
        <p:txBody>
          <a:bodyPr>
            <a:noAutofit/>
          </a:bodyPr>
          <a:lstStyle>
            <a:lvl1pPr>
              <a:spcAft>
                <a:spcPts val="0"/>
              </a:spcAft>
              <a:defRPr sz="675"/>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4850411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2" y="2125013"/>
            <a:ext cx="5349129"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6341224"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6"/>
            <a:ext cx="11165419" cy="260737"/>
          </a:xfrm>
        </p:spPr>
        <p:txBody>
          <a:bodyPr>
            <a:noAutofit/>
          </a:bodyPr>
          <a:lstStyle>
            <a:lvl1pPr>
              <a:spcAft>
                <a:spcPts val="0"/>
              </a:spcAft>
              <a:defRPr sz="675"/>
            </a:lvl1pPr>
          </a:lstStyle>
          <a:p>
            <a:pPr lvl="0"/>
            <a:r>
              <a:rPr lang="en-US"/>
              <a:t>Click to edit Master text styles</a:t>
            </a:r>
          </a:p>
        </p:txBody>
      </p:sp>
      <p:sp>
        <p:nvSpPr>
          <p:cNvPr id="9" name="Chart Placeholder 2"/>
          <p:cNvSpPr>
            <a:spLocks noGrp="1"/>
          </p:cNvSpPr>
          <p:nvPr>
            <p:ph type="chart" sz="quarter" idx="24"/>
          </p:nvPr>
        </p:nvSpPr>
        <p:spPr>
          <a:xfrm>
            <a:off x="501651" y="2125013"/>
            <a:ext cx="534924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52484568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2" y="1665289"/>
            <a:ext cx="4431857" cy="4716463"/>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665289"/>
            <a:ext cx="6240000" cy="4716463"/>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58522009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8920D9-F23C-4854-9500-C60700BD24F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B844D05-AD3C-4577-ABDE-894D2034AD5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F1444DC-590B-462F-AD71-E7D9BDC2E321}"/>
              </a:ext>
            </a:extLst>
          </p:cNvPr>
          <p:cNvSpPr>
            <a:spLocks noGrp="1"/>
          </p:cNvSpPr>
          <p:nvPr>
            <p:ph type="dt" sz="half" idx="10"/>
          </p:nvPr>
        </p:nvSpPr>
        <p:spPr/>
        <p:txBody>
          <a:bodyPr/>
          <a:lstStyle/>
          <a:p>
            <a:fld id="{A909741C-3B6A-47B9-8724-86C91DE00CFA}" type="datetime1">
              <a:rPr lang="en-US" smtClean="0"/>
              <a:t>6/24/2021</a:t>
            </a:fld>
            <a:endParaRPr lang="en-US"/>
          </a:p>
        </p:txBody>
      </p:sp>
      <p:sp>
        <p:nvSpPr>
          <p:cNvPr id="5" name="Footer Placeholder 4">
            <a:extLst>
              <a:ext uri="{FF2B5EF4-FFF2-40B4-BE49-F238E27FC236}">
                <a16:creationId xmlns:a16="http://schemas.microsoft.com/office/drawing/2014/main" id="{C097B700-8E69-4E77-8CD3-FB289DEEFA34}"/>
              </a:ext>
            </a:extLst>
          </p:cNvPr>
          <p:cNvSpPr>
            <a:spLocks noGrp="1"/>
          </p:cNvSpPr>
          <p:nvPr>
            <p:ph type="ftr" sz="quarter" idx="11"/>
          </p:nvPr>
        </p:nvSpPr>
        <p:spPr/>
        <p:txBody>
          <a:bodyPr/>
          <a:lstStyle/>
          <a:p>
            <a:r>
              <a:rPr lang="en-US"/>
              <a:t>Copyright @ 2020 Deloitte Development LLC. All rights reserved.</a:t>
            </a:r>
          </a:p>
        </p:txBody>
      </p:sp>
      <p:sp>
        <p:nvSpPr>
          <p:cNvPr id="6" name="Slide Number Placeholder 5">
            <a:extLst>
              <a:ext uri="{FF2B5EF4-FFF2-40B4-BE49-F238E27FC236}">
                <a16:creationId xmlns:a16="http://schemas.microsoft.com/office/drawing/2014/main" id="{83E25318-3A9F-4157-AF16-1D71783FF472}"/>
              </a:ext>
            </a:extLst>
          </p:cNvPr>
          <p:cNvSpPr>
            <a:spLocks noGrp="1"/>
          </p:cNvSpPr>
          <p:nvPr>
            <p:ph type="sldNum" sz="quarter" idx="12"/>
          </p:nvPr>
        </p:nvSpPr>
        <p:spPr/>
        <p:txBody>
          <a:bodyPr/>
          <a:lstStyle/>
          <a:p>
            <a:fld id="{0378053D-D3D6-4900-B3A2-0AC1946A28D2}" type="slidenum">
              <a:rPr lang="en-US" smtClean="0"/>
              <a:t>‹#›</a:t>
            </a:fld>
            <a:endParaRPr lang="en-US"/>
          </a:p>
        </p:txBody>
      </p:sp>
    </p:spTree>
    <p:extLst>
      <p:ext uri="{BB962C8B-B14F-4D97-AF65-F5344CB8AC3E}">
        <p14:creationId xmlns:p14="http://schemas.microsoft.com/office/powerpoint/2010/main" val="32188130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3" y="1658680"/>
            <a:ext cx="4112468" cy="4723072"/>
          </a:xfrm>
          <a:prstGeom prst="rect">
            <a:avLst/>
          </a:prstGeom>
        </p:spPr>
        <p:txBody>
          <a:bodyPr>
            <a:noAutofit/>
          </a:bodyPr>
          <a:lstStyle>
            <a:lvl1pPr>
              <a:tabLst>
                <a:tab pos="3771900" algn="r"/>
              </a:tabLst>
              <a:defRPr sz="1575">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88830293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1"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2" y="2051999"/>
            <a:ext cx="3549549"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21227"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2" y="2051999"/>
            <a:ext cx="3549549"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40802"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6"/>
            <a:ext cx="11165419" cy="260737"/>
          </a:xfrm>
        </p:spPr>
        <p:txBody>
          <a:bodyPr>
            <a:noAutofit/>
          </a:bodyPr>
          <a:lstStyle>
            <a:lvl1pPr>
              <a:spcAft>
                <a:spcPts val="0"/>
              </a:spcAft>
              <a:defRPr sz="675"/>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78278624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1" y="3124200"/>
            <a:ext cx="2720468" cy="3257548"/>
          </a:xfrm>
        </p:spPr>
        <p:txBody>
          <a:bodyPr>
            <a:noAutofit/>
          </a:bodyPr>
          <a:lstStyle>
            <a:lvl1pPr marL="0" indent="0" algn="l">
              <a:buFontTx/>
              <a:buNone/>
              <a:defRPr b="1">
                <a:solidFill>
                  <a:schemeClr val="accent1"/>
                </a:solidFill>
              </a:defRPr>
            </a:lvl1pPr>
            <a:lvl2pPr marL="104775" indent="-104775" algn="l">
              <a:spcAft>
                <a:spcPts val="0"/>
              </a:spcAft>
              <a:buClrTx/>
              <a:buSzPct val="100000"/>
              <a:buFont typeface="Arial" panose="020B0604020202020204" pitchFamily="34" charset="0"/>
              <a:buChar char="•"/>
              <a:defRPr/>
            </a:lvl2pPr>
            <a:lvl3pPr marL="228600" indent="-104775" algn="l">
              <a:spcAft>
                <a:spcPts val="0"/>
              </a:spcAft>
              <a:buClrTx/>
              <a:buSzPct val="100000"/>
              <a:buFont typeface="Arial" panose="020B0604020202020204" pitchFamily="34" charset="0"/>
              <a:buChar char="−"/>
              <a:defRPr/>
            </a:lvl3pPr>
            <a:lvl4pPr marL="352425" indent="-104775" algn="l">
              <a:spcAft>
                <a:spcPts val="0"/>
              </a:spcAft>
              <a:buClrTx/>
              <a:buSzPct val="100000"/>
              <a:buFont typeface="Arial" panose="020B0604020202020204" pitchFamily="34" charset="0"/>
              <a:buChar char="◦"/>
              <a:defRPr/>
            </a:lvl4pPr>
            <a:lvl5pPr marL="476250" indent="-104775" algn="l">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3"/>
            <a:ext cx="2712000" cy="3261199"/>
          </a:xfrm>
        </p:spPr>
        <p:txBody>
          <a:bodyPr>
            <a:noAutofit/>
          </a:bodyPr>
          <a:lstStyle>
            <a:lvl1pPr marL="0" indent="0" algn="l">
              <a:buFontTx/>
              <a:buNone/>
              <a:defRPr b="1">
                <a:solidFill>
                  <a:schemeClr val="accent1"/>
                </a:solidFill>
              </a:defRPr>
            </a:lvl1pPr>
            <a:lvl2pPr marL="104775" indent="-104775" algn="l">
              <a:spcAft>
                <a:spcPts val="0"/>
              </a:spcAft>
              <a:buClrTx/>
              <a:buSzPct val="100000"/>
              <a:buFont typeface="Arial" panose="020B0604020202020204" pitchFamily="34" charset="0"/>
              <a:buChar char="•"/>
              <a:defRPr/>
            </a:lvl2pPr>
            <a:lvl3pPr marL="228600" indent="-104775" algn="l">
              <a:spcAft>
                <a:spcPts val="0"/>
              </a:spcAft>
              <a:buClrTx/>
              <a:buSzPct val="100000"/>
              <a:buFont typeface="Arial" panose="020B0604020202020204" pitchFamily="34" charset="0"/>
              <a:buChar char="−"/>
              <a:defRPr/>
            </a:lvl3pPr>
            <a:lvl4pPr marL="352425" indent="-104775" algn="l">
              <a:spcAft>
                <a:spcPts val="0"/>
              </a:spcAft>
              <a:buClrTx/>
              <a:buSzPct val="100000"/>
              <a:buFont typeface="Arial" panose="020B0604020202020204" pitchFamily="34" charset="0"/>
              <a:buChar char="◦"/>
              <a:defRPr/>
            </a:lvl4pPr>
            <a:lvl5pPr marL="476250" indent="-104775" algn="l">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2"/>
            <a:ext cx="2712000" cy="3257549"/>
          </a:xfrm>
        </p:spPr>
        <p:txBody>
          <a:bodyPr>
            <a:noAutofit/>
          </a:bodyPr>
          <a:lstStyle>
            <a:lvl1pPr marL="0" indent="0" algn="l">
              <a:buFontTx/>
              <a:buNone/>
              <a:defRPr b="1">
                <a:solidFill>
                  <a:schemeClr val="accent1"/>
                </a:solidFill>
              </a:defRPr>
            </a:lvl1pPr>
            <a:lvl2pPr marL="104775" indent="-104775" algn="l">
              <a:spcAft>
                <a:spcPts val="0"/>
              </a:spcAft>
              <a:buClrTx/>
              <a:buSzPct val="100000"/>
              <a:buFont typeface="Arial" panose="020B0604020202020204" pitchFamily="34" charset="0"/>
              <a:buChar char="•"/>
              <a:defRPr/>
            </a:lvl2pPr>
            <a:lvl3pPr marL="228600" indent="-104775" algn="l">
              <a:spcAft>
                <a:spcPts val="0"/>
              </a:spcAft>
              <a:buClrTx/>
              <a:buSzPct val="100000"/>
              <a:buFont typeface="Arial" panose="020B0604020202020204" pitchFamily="34" charset="0"/>
              <a:buChar char="−"/>
              <a:defRPr/>
            </a:lvl3pPr>
            <a:lvl4pPr marL="352425" indent="-104775" algn="l">
              <a:spcAft>
                <a:spcPts val="0"/>
              </a:spcAft>
              <a:buClrTx/>
              <a:buSzPct val="100000"/>
              <a:buFont typeface="Arial" panose="020B0604020202020204" pitchFamily="34" charset="0"/>
              <a:buChar char="◦"/>
              <a:defRPr/>
            </a:lvl4pPr>
            <a:lvl5pPr marL="476250" indent="-104775" algn="l">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70" y="3108508"/>
            <a:ext cx="2697183" cy="3273240"/>
          </a:xfrm>
        </p:spPr>
        <p:txBody>
          <a:bodyPr>
            <a:noAutofit/>
          </a:bodyPr>
          <a:lstStyle>
            <a:lvl1pPr marL="0" indent="0" algn="l">
              <a:buFontTx/>
              <a:buNone/>
              <a:defRPr b="1">
                <a:solidFill>
                  <a:schemeClr val="accent1"/>
                </a:solidFill>
              </a:defRPr>
            </a:lvl1pPr>
            <a:lvl2pPr marL="104775" indent="-104775" algn="l">
              <a:spcAft>
                <a:spcPts val="0"/>
              </a:spcAft>
              <a:buClrTx/>
              <a:buSzPct val="100000"/>
              <a:buFont typeface="Arial" panose="020B0604020202020204" pitchFamily="34" charset="0"/>
              <a:buChar char="•"/>
              <a:defRPr/>
            </a:lvl2pPr>
            <a:lvl3pPr marL="228600" indent="-104775" algn="l">
              <a:spcAft>
                <a:spcPts val="0"/>
              </a:spcAft>
              <a:buClrTx/>
              <a:buSzPct val="100000"/>
              <a:buFont typeface="Arial" panose="020B0604020202020204" pitchFamily="34" charset="0"/>
              <a:buChar char="−"/>
              <a:defRPr/>
            </a:lvl3pPr>
            <a:lvl4pPr marL="352425" indent="-104775" algn="l">
              <a:spcAft>
                <a:spcPts val="0"/>
              </a:spcAft>
              <a:buClrTx/>
              <a:buSzPct val="100000"/>
              <a:buFont typeface="Arial" panose="020B0604020202020204" pitchFamily="34" charset="0"/>
              <a:buChar char="◦"/>
              <a:defRPr/>
            </a:lvl4pPr>
            <a:lvl5pPr marL="476250" indent="-104775" algn="l">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25373425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dirty="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dirty="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04775" indent="-104775"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04775" indent="-104775"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04775" indent="-104775"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04775" indent="-104775"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Rectangle 23">
            <a:extLst>
              <a:ext uri="{FF2B5EF4-FFF2-40B4-BE49-F238E27FC236}">
                <a16:creationId xmlns:a16="http://schemas.microsoft.com/office/drawing/2014/main" id="{2C761CD0-A115-446B-9662-DC8BC9A4F3B6}"/>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5" name="Rectangle 24">
            <a:extLst>
              <a:ext uri="{FF2B5EF4-FFF2-40B4-BE49-F238E27FC236}">
                <a16:creationId xmlns:a16="http://schemas.microsoft.com/office/drawing/2014/main" id="{92AFCD77-2840-4457-A8CC-250E024F5885}"/>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6" name="Rectangle 25">
            <a:extLst>
              <a:ext uri="{FF2B5EF4-FFF2-40B4-BE49-F238E27FC236}">
                <a16:creationId xmlns:a16="http://schemas.microsoft.com/office/drawing/2014/main" id="{E3D724AF-B48B-4AA6-91C8-B438C37A88D1}"/>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27" name="Rectangle 26">
            <a:extLst>
              <a:ext uri="{FF2B5EF4-FFF2-40B4-BE49-F238E27FC236}">
                <a16:creationId xmlns:a16="http://schemas.microsoft.com/office/drawing/2014/main" id="{034AA612-2961-40D2-9A4E-EDAE9FEF230D}"/>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Tree>
    <p:extLst>
      <p:ext uri="{BB962C8B-B14F-4D97-AF65-F5344CB8AC3E}">
        <p14:creationId xmlns:p14="http://schemas.microsoft.com/office/powerpoint/2010/main" val="81582981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5" y="1857892"/>
            <a:ext cx="5466824"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5" name="Rectangle 4"/>
          <p:cNvSpPr/>
          <p:nvPr/>
        </p:nvSpPr>
        <p:spPr>
          <a:xfrm>
            <a:off x="6246196"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6" name="Picture Placeholder 29"/>
          <p:cNvSpPr>
            <a:spLocks noGrp="1"/>
          </p:cNvSpPr>
          <p:nvPr>
            <p:ph type="pic" sz="quarter" idx="19" hasCustomPrompt="1"/>
          </p:nvPr>
        </p:nvSpPr>
        <p:spPr>
          <a:xfrm>
            <a:off x="4769493"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46192"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10" name="Rectangle 9">
            <a:extLst>
              <a:ext uri="{FF2B5EF4-FFF2-40B4-BE49-F238E27FC236}">
                <a16:creationId xmlns:a16="http://schemas.microsoft.com/office/drawing/2014/main" id="{283703CC-2625-4A3C-9057-35BB359C858C}"/>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Rectangle 13">
            <a:extLst>
              <a:ext uri="{FF2B5EF4-FFF2-40B4-BE49-F238E27FC236}">
                <a16:creationId xmlns:a16="http://schemas.microsoft.com/office/drawing/2014/main" id="{78C6EA4C-B76A-4261-B420-F9400DB4E471}"/>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5" name="Rectangle 14">
            <a:extLst>
              <a:ext uri="{FF2B5EF4-FFF2-40B4-BE49-F238E27FC236}">
                <a16:creationId xmlns:a16="http://schemas.microsoft.com/office/drawing/2014/main" id="{1DB98A0D-4A0B-45A0-912D-4D61546E92C6}"/>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Tree>
    <p:extLst>
      <p:ext uri="{BB962C8B-B14F-4D97-AF65-F5344CB8AC3E}">
        <p14:creationId xmlns:p14="http://schemas.microsoft.com/office/powerpoint/2010/main" val="114961679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dirty="0">
              <a:solidFill>
                <a:schemeClr val="bg1"/>
              </a:solidFill>
            </a:endParaRPr>
          </a:p>
        </p:txBody>
      </p:sp>
      <p:sp>
        <p:nvSpPr>
          <p:cNvPr id="5" name="Rectangle 4"/>
          <p:cNvSpPr/>
          <p:nvPr/>
        </p:nvSpPr>
        <p:spPr>
          <a:xfrm>
            <a:off x="6246196"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dirty="0">
              <a:solidFill>
                <a:schemeClr val="bg1"/>
              </a:solidFill>
            </a:endParaRPr>
          </a:p>
        </p:txBody>
      </p:sp>
      <p:sp>
        <p:nvSpPr>
          <p:cNvPr id="7" name="Picture Placeholder 29"/>
          <p:cNvSpPr>
            <a:spLocks noGrp="1"/>
          </p:cNvSpPr>
          <p:nvPr>
            <p:ph type="pic" sz="quarter" idx="20" hasCustomPrompt="1"/>
          </p:nvPr>
        </p:nvSpPr>
        <p:spPr>
          <a:xfrm>
            <a:off x="1045670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2" name="Rectangle 11"/>
          <p:cNvSpPr/>
          <p:nvPr/>
        </p:nvSpPr>
        <p:spPr>
          <a:xfrm>
            <a:off x="504002"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dirty="0">
              <a:solidFill>
                <a:schemeClr val="bg1"/>
              </a:solidFill>
            </a:endParaRPr>
          </a:p>
        </p:txBody>
      </p:sp>
      <p:sp>
        <p:nvSpPr>
          <p:cNvPr id="13" name="Rectangle 12"/>
          <p:cNvSpPr/>
          <p:nvPr/>
        </p:nvSpPr>
        <p:spPr>
          <a:xfrm>
            <a:off x="6246195"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dirty="0">
              <a:solidFill>
                <a:schemeClr val="bg1"/>
              </a:solidFill>
            </a:endParaRPr>
          </a:p>
        </p:txBody>
      </p:sp>
      <p:sp>
        <p:nvSpPr>
          <p:cNvPr id="14" name="Picture Placeholder 29"/>
          <p:cNvSpPr>
            <a:spLocks noGrp="1"/>
          </p:cNvSpPr>
          <p:nvPr>
            <p:ph type="pic" sz="quarter" idx="24" hasCustomPrompt="1"/>
          </p:nvPr>
        </p:nvSpPr>
        <p:spPr>
          <a:xfrm>
            <a:off x="4754495" y="4249684"/>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54993" y="4249684"/>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69493"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8" name="Rectangle 17">
            <a:extLst>
              <a:ext uri="{FF2B5EF4-FFF2-40B4-BE49-F238E27FC236}">
                <a16:creationId xmlns:a16="http://schemas.microsoft.com/office/drawing/2014/main" id="{A32462FA-7D20-4E6B-9335-5F0CC56925D0}"/>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dirty="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dirty="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5" y="1857892"/>
            <a:ext cx="5466824"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5" y="1857892"/>
            <a:ext cx="5466824"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49681"/>
            <a:ext cx="5466824"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5" y="4249681"/>
            <a:ext cx="5466824"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15001953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825" noProof="0" dirty="0">
              <a:solidFill>
                <a:schemeClr val="bg1"/>
              </a:solidFill>
            </a:endParaRPr>
          </a:p>
        </p:txBody>
      </p:sp>
      <p:sp>
        <p:nvSpPr>
          <p:cNvPr id="5" name="Rectangle 4"/>
          <p:cNvSpPr/>
          <p:nvPr/>
        </p:nvSpPr>
        <p:spPr>
          <a:xfrm>
            <a:off x="504000" y="1700215"/>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825"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825" noProof="0" dirty="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4278313" y="170596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469901" y="170596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8104177"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5" y="1857893"/>
            <a:ext cx="3584464" cy="3839303"/>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9" y="1861483"/>
            <a:ext cx="3584464" cy="3839303"/>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2"/>
            <a:ext cx="3584464" cy="3839303"/>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4064517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9"/>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400" y="1674089"/>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674089"/>
            <a:ext cx="3657600" cy="1971675"/>
          </a:xfrm>
        </p:spPr>
        <p:txBody>
          <a:bodyPr/>
          <a:lstStyle/>
          <a:p>
            <a:r>
              <a:rPr lang="en-US" noProof="0"/>
              <a:t>Click icon to add picture</a:t>
            </a:r>
            <a:endParaRPr lang="en-US" noProof="0" dirty="0"/>
          </a:p>
        </p:txBody>
      </p:sp>
      <p:sp>
        <p:nvSpPr>
          <p:cNvPr id="9" name="Text Placeholder 18"/>
          <p:cNvSpPr>
            <a:spLocks noGrp="1"/>
          </p:cNvSpPr>
          <p:nvPr>
            <p:ph idx="1"/>
          </p:nvPr>
        </p:nvSpPr>
        <p:spPr>
          <a:xfrm>
            <a:off x="501652" y="3832225"/>
            <a:ext cx="3683949" cy="2095200"/>
          </a:xfrm>
          <a:prstGeom prst="rect">
            <a:avLst/>
          </a:prstGeom>
        </p:spPr>
        <p:txBody>
          <a:bodyPr vert="horz" lIns="0" tIns="0" rIns="0" bIns="0" rtlCol="0">
            <a:noAutofit/>
          </a:bodyPr>
          <a:lstStyle>
            <a:lvl1pPr marL="0" indent="0" algn="l">
              <a:buFontTx/>
              <a:buNone/>
              <a:defRPr/>
            </a:lvl1pPr>
            <a:lvl2pPr marL="104775" indent="-104775" algn="l">
              <a:buClrTx/>
              <a:buSzPct val="100000"/>
              <a:buFont typeface="Arial" panose="020B0604020202020204" pitchFamily="34" charset="0"/>
              <a:buChar char="•"/>
              <a:defRPr/>
            </a:lvl2pPr>
            <a:lvl3pPr marL="228600" indent="-104775" algn="l">
              <a:buClrTx/>
              <a:buSzPct val="100000"/>
              <a:buFont typeface="Arial" panose="020B0604020202020204" pitchFamily="34" charset="0"/>
              <a:buChar char="−"/>
              <a:defRPr/>
            </a:lvl3pPr>
            <a:lvl4pPr marL="352425" indent="-104775" algn="l">
              <a:buClrTx/>
              <a:buSzPct val="100000"/>
              <a:buFont typeface="Arial" panose="020B0604020202020204" pitchFamily="34" charset="0"/>
              <a:buChar char="◦"/>
              <a:defRPr/>
            </a:lvl4pPr>
            <a:lvl5pPr marL="476250" indent="-104775"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04775" indent="-104775" algn="l">
              <a:buClrTx/>
              <a:buSzPct val="100000"/>
              <a:buFont typeface="Arial" panose="020B0604020202020204" pitchFamily="34" charset="0"/>
              <a:buChar char="•"/>
              <a:defRPr/>
            </a:lvl2pPr>
            <a:lvl3pPr marL="228600" indent="-104775" algn="l">
              <a:buClrTx/>
              <a:buSzPct val="100000"/>
              <a:buFont typeface="Arial" panose="020B0604020202020204" pitchFamily="34" charset="0"/>
              <a:buChar char="−"/>
              <a:defRPr/>
            </a:lvl3pPr>
            <a:lvl4pPr marL="352425" indent="-104775" algn="l">
              <a:buClrTx/>
              <a:buSzPct val="100000"/>
              <a:buFont typeface="Arial" panose="020B0604020202020204" pitchFamily="34" charset="0"/>
              <a:buChar char="◦"/>
              <a:defRPr/>
            </a:lvl4pPr>
            <a:lvl5pPr marL="476250" indent="-104775"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8"/>
          <p:cNvSpPr>
            <a:spLocks noGrp="1"/>
          </p:cNvSpPr>
          <p:nvPr>
            <p:ph idx="17"/>
          </p:nvPr>
        </p:nvSpPr>
        <p:spPr>
          <a:xfrm>
            <a:off x="8006400" y="3832225"/>
            <a:ext cx="3683953" cy="2095200"/>
          </a:xfrm>
          <a:prstGeom prst="rect">
            <a:avLst/>
          </a:prstGeom>
        </p:spPr>
        <p:txBody>
          <a:bodyPr vert="horz" lIns="0" tIns="0" rIns="0" bIns="0" rtlCol="0">
            <a:noAutofit/>
          </a:bodyPr>
          <a:lstStyle>
            <a:lvl1pPr marL="0" indent="0" algn="l">
              <a:buFontTx/>
              <a:buNone/>
              <a:defRPr/>
            </a:lvl1pPr>
            <a:lvl2pPr marL="104775" indent="-104775" algn="l">
              <a:buClrTx/>
              <a:buSzPct val="100000"/>
              <a:buFont typeface="Arial" panose="020B0604020202020204" pitchFamily="34" charset="0"/>
              <a:buChar char="•"/>
              <a:defRPr/>
            </a:lvl2pPr>
            <a:lvl3pPr marL="228600" indent="-104775" algn="l">
              <a:buClrTx/>
              <a:buSzPct val="100000"/>
              <a:buFont typeface="Arial" panose="020B0604020202020204" pitchFamily="34" charset="0"/>
              <a:buChar char="−"/>
              <a:defRPr/>
            </a:lvl3pPr>
            <a:lvl4pPr marL="352425" indent="-104775" algn="l">
              <a:buClrTx/>
              <a:buSzPct val="100000"/>
              <a:buFont typeface="Arial" panose="020B0604020202020204" pitchFamily="34" charset="0"/>
              <a:buChar char="◦"/>
              <a:defRPr/>
            </a:lvl4pPr>
            <a:lvl5pPr marL="476250" indent="-104775"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60847909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4167636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1"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11465733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DC323C-AD25-4E8C-B52D-3B5B50A5D6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506D97B-60B1-40EC-B6C5-76EF1CB77C5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FE9CA34-F13D-4E23-951B-8522CEF3C80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CE77B93-9319-425B-BB78-B0661B9BD35A}"/>
              </a:ext>
            </a:extLst>
          </p:cNvPr>
          <p:cNvSpPr>
            <a:spLocks noGrp="1"/>
          </p:cNvSpPr>
          <p:nvPr>
            <p:ph type="dt" sz="half" idx="10"/>
          </p:nvPr>
        </p:nvSpPr>
        <p:spPr/>
        <p:txBody>
          <a:bodyPr/>
          <a:lstStyle/>
          <a:p>
            <a:fld id="{B1E0FCD9-B64E-49B6-B890-38C8E86B40A5}" type="datetime1">
              <a:rPr lang="en-US" smtClean="0"/>
              <a:t>6/24/2021</a:t>
            </a:fld>
            <a:endParaRPr lang="en-US"/>
          </a:p>
        </p:txBody>
      </p:sp>
      <p:sp>
        <p:nvSpPr>
          <p:cNvPr id="6" name="Footer Placeholder 5">
            <a:extLst>
              <a:ext uri="{FF2B5EF4-FFF2-40B4-BE49-F238E27FC236}">
                <a16:creationId xmlns:a16="http://schemas.microsoft.com/office/drawing/2014/main" id="{4D427D10-DAC8-41C8-9E54-42FC3F2DB433}"/>
              </a:ext>
            </a:extLst>
          </p:cNvPr>
          <p:cNvSpPr>
            <a:spLocks noGrp="1"/>
          </p:cNvSpPr>
          <p:nvPr>
            <p:ph type="ftr" sz="quarter" idx="11"/>
          </p:nvPr>
        </p:nvSpPr>
        <p:spPr/>
        <p:txBody>
          <a:bodyPr/>
          <a:lstStyle/>
          <a:p>
            <a:r>
              <a:rPr lang="en-US"/>
              <a:t>Copyright @ 2020 Deloitte Development LLC. All rights reserved.</a:t>
            </a:r>
          </a:p>
        </p:txBody>
      </p:sp>
      <p:sp>
        <p:nvSpPr>
          <p:cNvPr id="7" name="Slide Number Placeholder 6">
            <a:extLst>
              <a:ext uri="{FF2B5EF4-FFF2-40B4-BE49-F238E27FC236}">
                <a16:creationId xmlns:a16="http://schemas.microsoft.com/office/drawing/2014/main" id="{D8DD5B2D-D6DC-44C8-93F7-9BADA669D37C}"/>
              </a:ext>
            </a:extLst>
          </p:cNvPr>
          <p:cNvSpPr>
            <a:spLocks noGrp="1"/>
          </p:cNvSpPr>
          <p:nvPr>
            <p:ph type="sldNum" sz="quarter" idx="12"/>
          </p:nvPr>
        </p:nvSpPr>
        <p:spPr/>
        <p:txBody>
          <a:bodyPr/>
          <a:lstStyle/>
          <a:p>
            <a:fld id="{0378053D-D3D6-4900-B3A2-0AC1946A28D2}" type="slidenum">
              <a:rPr lang="en-US" smtClean="0"/>
              <a:t>‹#›</a:t>
            </a:fld>
            <a:endParaRPr lang="en-US"/>
          </a:p>
        </p:txBody>
      </p:sp>
    </p:spTree>
    <p:extLst>
      <p:ext uri="{BB962C8B-B14F-4D97-AF65-F5344CB8AC3E}">
        <p14:creationId xmlns:p14="http://schemas.microsoft.com/office/powerpoint/2010/main" val="640104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22488566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93224145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828189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450"/>
              </a:spcAft>
              <a:defRPr sz="675">
                <a:solidFill>
                  <a:schemeClr val="tx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9" y="4211955"/>
            <a:ext cx="2319503" cy="1725448"/>
          </a:xfrm>
        </p:spPr>
        <p:txBody>
          <a:bodyPr anchor="ctr" anchorCtr="0"/>
          <a:lstStyle>
            <a:lvl1pPr algn="ctr">
              <a:defRPr sz="675">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370851" y="6018028"/>
            <a:ext cx="2319501" cy="363722"/>
          </a:xfrm>
        </p:spPr>
        <p:txBody>
          <a:bodyPr anchor="b" anchorCtr="0">
            <a:noAutofit/>
          </a:bodyPr>
          <a:lstStyle>
            <a:lvl1pPr>
              <a:lnSpc>
                <a:spcPct val="100000"/>
              </a:lnSpc>
              <a:defRPr sz="713">
                <a:solidFill>
                  <a:schemeClr val="tx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173AC783-B7E6-42BB-A92D-0ADBC2997BD0}"/>
              </a:ext>
            </a:extLst>
          </p:cNvPr>
          <p:cNvGrpSpPr/>
          <p:nvPr userDrawn="1"/>
        </p:nvGrpSpPr>
        <p:grpSpPr>
          <a:xfrm>
            <a:off x="503988" y="378000"/>
            <a:ext cx="2160000" cy="307976"/>
            <a:chOff x="398463" y="404813"/>
            <a:chExt cx="1627187" cy="307976"/>
          </a:xfrm>
          <a:solidFill>
            <a:schemeClr val="tx1"/>
          </a:solidFill>
        </p:grpSpPr>
        <p:sp>
          <p:nvSpPr>
            <p:cNvPr id="17" name="Oval 5">
              <a:extLst>
                <a:ext uri="{FF2B5EF4-FFF2-40B4-BE49-F238E27FC236}">
                  <a16:creationId xmlns:a16="http://schemas.microsoft.com/office/drawing/2014/main" id="{9F2F744D-AEA8-4CF0-9A14-E2B8AD24104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E62CECF6-150D-469C-9E24-8A478A950AB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5AD24CEC-D748-4AC1-BB7B-7A25E5679DBB}"/>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40C7F824-A886-4BC7-B778-20FA0AA9958D}"/>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2FA61C41-4509-484F-BCF2-C180FF438810}"/>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204D49B7-F599-46BF-BA65-9824F012BE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4836DFB0-FEE2-4420-9E5F-C49F952F18B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085F925D-8AEB-48CC-8FB5-C3C2B0238A18}"/>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D492B745-F78F-4675-B594-05FC06EBB43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46FAB7FD-7A62-4416-99F4-89F16D7EA07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4840822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450"/>
              </a:spcAft>
              <a:defRPr sz="675">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9" y="4211955"/>
            <a:ext cx="2319503" cy="1725448"/>
          </a:xfrm>
        </p:spPr>
        <p:txBody>
          <a:bodyPr anchor="ctr" anchorCtr="0"/>
          <a:lstStyle>
            <a:lvl1pPr algn="ctr">
              <a:defRPr sz="675">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370851" y="6018028"/>
            <a:ext cx="2319501" cy="363722"/>
          </a:xfrm>
        </p:spPr>
        <p:txBody>
          <a:bodyPr anchor="b" anchorCtr="0">
            <a:noAutofit/>
          </a:bodyPr>
          <a:lstStyle>
            <a:lvl1pPr>
              <a:lnSpc>
                <a:spcPct val="100000"/>
              </a:lnSpc>
              <a:defRPr sz="713">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0B6CCAF7-D53A-49D2-811F-A8F83A7B327B}"/>
              </a:ext>
            </a:extLst>
          </p:cNvPr>
          <p:cNvGrpSpPr/>
          <p:nvPr userDrawn="1"/>
        </p:nvGrpSpPr>
        <p:grpSpPr>
          <a:xfrm>
            <a:off x="503988" y="378000"/>
            <a:ext cx="2160000" cy="307976"/>
            <a:chOff x="398463" y="404813"/>
            <a:chExt cx="1627187" cy="307976"/>
          </a:xfrm>
          <a:solidFill>
            <a:schemeClr val="bg1"/>
          </a:solidFill>
        </p:grpSpPr>
        <p:sp>
          <p:nvSpPr>
            <p:cNvPr id="17" name="Oval 5">
              <a:extLst>
                <a:ext uri="{FF2B5EF4-FFF2-40B4-BE49-F238E27FC236}">
                  <a16:creationId xmlns:a16="http://schemas.microsoft.com/office/drawing/2014/main" id="{02856B76-941B-4ADA-8EF5-820A4B31FC4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F949CC49-8AC1-46F1-A9CB-7D1703D4A06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EAC81131-807B-481B-8BE9-7758F3EF20E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FB893F76-90D5-40E5-A58E-15D7125CDCC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A7C1E91F-68E0-461B-9A19-8DDA2F52A7F6}"/>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DECCB569-588D-4D54-A458-11BACEF3151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4C5ED5F4-D1F6-43A7-A1F9-71BFAA6DE56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643F8374-D00F-4C56-8925-4FA56854E9E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D52ADE88-EEC9-431F-A0AC-613B5DE7076E}"/>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2AE2FE11-C27C-49AF-B0C7-58BEFA645DB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8116147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subtitle &amp; 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2921" y="1665291"/>
            <a:ext cx="9348787" cy="4633910"/>
          </a:xfrm>
          <a:prstGeom prst="rect">
            <a:avLst/>
          </a:prstGeom>
        </p:spPr>
        <p:txBody>
          <a:bodyPr>
            <a:normAutofit/>
          </a:bodyPr>
          <a:lstStyle>
            <a:lvl1pPr>
              <a:tabLst>
                <a:tab pos="6729245" algn="r"/>
              </a:tabLst>
              <a:defRPr sz="1300"/>
            </a:lvl1pPr>
            <a:lvl2pPr>
              <a:tabLst>
                <a:tab pos="6729245" algn="r"/>
              </a:tabLst>
              <a:defRPr sz="1300"/>
            </a:lvl2pPr>
            <a:lvl3pPr>
              <a:tabLst>
                <a:tab pos="6729245" algn="r"/>
              </a:tabLst>
              <a:defRPr sz="1300"/>
            </a:lvl3pPr>
            <a:lvl4pPr>
              <a:tabLst>
                <a:tab pos="6729245" algn="r"/>
              </a:tabLst>
              <a:defRPr sz="1300"/>
            </a:lvl4pPr>
            <a:lvl5pPr>
              <a:tabLst>
                <a:tab pos="5029074" algn="r"/>
              </a:tabLst>
              <a:defRPr sz="1300" baseline="0"/>
            </a:lvl5pPr>
            <a:lvl6pPr>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8">
            <a:extLst>
              <a:ext uri="{FF2B5EF4-FFF2-40B4-BE49-F238E27FC236}">
                <a16:creationId xmlns:a16="http://schemas.microsoft.com/office/drawing/2014/main" id="{B4464A84-542A-4D1A-8583-EEE0342E31DC}"/>
              </a:ext>
            </a:extLst>
          </p:cNvPr>
          <p:cNvSpPr>
            <a:spLocks noGrp="1"/>
          </p:cNvSpPr>
          <p:nvPr>
            <p:ph type="body" sz="quarter" idx="21"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B12EEE0C-4EE5-49C0-A99D-660B1A86B51D}"/>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000">
                <a:latin typeface="+mj-lt"/>
              </a:defRPr>
            </a:lvl1pPr>
          </a:lstStyle>
          <a:p>
            <a:r>
              <a:rPr lang="en-US" dirty="0"/>
              <a:t>Click to add title</a:t>
            </a:r>
          </a:p>
        </p:txBody>
      </p:sp>
    </p:spTree>
    <p:extLst>
      <p:ext uri="{BB962C8B-B14F-4D97-AF65-F5344CB8AC3E}">
        <p14:creationId xmlns:p14="http://schemas.microsoft.com/office/powerpoint/2010/main" val="173375711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7" name="Copyright">
            <a:extLst>
              <a:ext uri="{FF2B5EF4-FFF2-40B4-BE49-F238E27FC236}">
                <a16:creationId xmlns:a16="http://schemas.microsoft.com/office/drawing/2014/main" id="{062DEA33-D70F-464E-8310-21426B95E5BC}"/>
              </a:ext>
            </a:extLst>
          </p:cNvPr>
          <p:cNvSpPr txBox="1"/>
          <p:nvPr userDrawn="1"/>
        </p:nvSpPr>
        <p:spPr>
          <a:xfrm>
            <a:off x="501649" y="6477000"/>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0 Deloitte Development LLC. All rights reserved.</a:t>
            </a:r>
          </a:p>
        </p:txBody>
      </p:sp>
      <p:sp>
        <p:nvSpPr>
          <p:cNvPr id="8" name="TextBox 7">
            <a:extLst>
              <a:ext uri="{FF2B5EF4-FFF2-40B4-BE49-F238E27FC236}">
                <a16:creationId xmlns:a16="http://schemas.microsoft.com/office/drawing/2014/main" id="{8188BC9E-0C2C-4EB3-82B0-F3C9CEC9B2FE}"/>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673120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000">
                <a:latin typeface="+mj-lt"/>
              </a:defRPr>
            </a:lvl1pPr>
          </a:lstStyle>
          <a:p>
            <a:r>
              <a:rPr lang="en-US" dirty="0"/>
              <a:t>Click to add title</a:t>
            </a:r>
          </a:p>
        </p:txBody>
      </p:sp>
      <p:sp>
        <p:nvSpPr>
          <p:cNvPr id="8" name="Text Placeholder 8">
            <a:extLst>
              <a:ext uri="{FF2B5EF4-FFF2-40B4-BE49-F238E27FC236}">
                <a16:creationId xmlns:a16="http://schemas.microsoft.com/office/drawing/2014/main" id="{D0DD3CDC-03F0-45B8-ACB9-856464915565}"/>
              </a:ext>
            </a:extLst>
          </p:cNvPr>
          <p:cNvSpPr>
            <a:spLocks noGrp="1"/>
          </p:cNvSpPr>
          <p:nvPr>
            <p:ph type="body" sz="quarter" idx="21"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Tree>
    <p:extLst>
      <p:ext uri="{BB962C8B-B14F-4D97-AF65-F5344CB8AC3E}">
        <p14:creationId xmlns:p14="http://schemas.microsoft.com/office/powerpoint/2010/main" val="107528449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503988" y="378000"/>
            <a:ext cx="2160000" cy="307976"/>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52" name="Picture Placeholder 8">
            <a:extLst>
              <a:ext uri="{FF2B5EF4-FFF2-40B4-BE49-F238E27FC236}">
                <a16:creationId xmlns:a16="http://schemas.microsoft.com/office/drawing/2014/main" id="{27C09EB3-4C86-4B88-B9B3-4061BBB643D5}"/>
              </a:ext>
            </a:extLst>
          </p:cNvPr>
          <p:cNvSpPr>
            <a:spLocks noGrp="1"/>
          </p:cNvSpPr>
          <p:nvPr>
            <p:ph type="pic" sz="quarter" idx="11"/>
          </p:nvPr>
        </p:nvSpPr>
        <p:spPr>
          <a:xfrm>
            <a:off x="2511332" y="804672"/>
            <a:ext cx="7205472" cy="5404104"/>
          </a:xfrm>
          <a:prstGeom prst="rect">
            <a:avLst/>
          </a:prstGeom>
        </p:spPr>
        <p:txBody>
          <a:bodyPr/>
          <a:lstStyle/>
          <a:p>
            <a:r>
              <a:rPr lang="en-US" noProof="0"/>
              <a:t>Click icon to add picture</a:t>
            </a:r>
            <a:endParaRPr lang="en-US" noProof="0" dirty="0"/>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376042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grpSp>
        <p:nvGrpSpPr>
          <p:cNvPr id="16" name="Group 15">
            <a:extLst>
              <a:ext uri="{FF2B5EF4-FFF2-40B4-BE49-F238E27FC236}">
                <a16:creationId xmlns:a16="http://schemas.microsoft.com/office/drawing/2014/main" id="{6A0BD833-5739-4FDB-B21F-A7A7C0EEC237}"/>
              </a:ext>
            </a:extLst>
          </p:cNvPr>
          <p:cNvGrpSpPr/>
          <p:nvPr userDrawn="1"/>
        </p:nvGrpSpPr>
        <p:grpSpPr>
          <a:xfrm>
            <a:off x="503988" y="378000"/>
            <a:ext cx="2160000" cy="307976"/>
            <a:chOff x="398463" y="404813"/>
            <a:chExt cx="1627187" cy="307976"/>
          </a:xfrm>
          <a:solidFill>
            <a:schemeClr val="bg1"/>
          </a:solidFill>
        </p:grpSpPr>
        <p:sp>
          <p:nvSpPr>
            <p:cNvPr id="18" name="Oval 5">
              <a:extLst>
                <a:ext uri="{FF2B5EF4-FFF2-40B4-BE49-F238E27FC236}">
                  <a16:creationId xmlns:a16="http://schemas.microsoft.com/office/drawing/2014/main" id="{D1771689-8745-4F67-ACB0-2FA880B6292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6">
              <a:extLst>
                <a:ext uri="{FF2B5EF4-FFF2-40B4-BE49-F238E27FC236}">
                  <a16:creationId xmlns:a16="http://schemas.microsoft.com/office/drawing/2014/main" id="{43568588-502F-4601-817C-92A013540BF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Rectangle 7">
              <a:extLst>
                <a:ext uri="{FF2B5EF4-FFF2-40B4-BE49-F238E27FC236}">
                  <a16:creationId xmlns:a16="http://schemas.microsoft.com/office/drawing/2014/main" id="{DA2B9600-D91E-468D-9D31-33B92E3947FF}"/>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Freeform 8">
              <a:extLst>
                <a:ext uri="{FF2B5EF4-FFF2-40B4-BE49-F238E27FC236}">
                  <a16:creationId xmlns:a16="http://schemas.microsoft.com/office/drawing/2014/main" id="{01FF30FF-ADCC-4CD2-B09E-60F75CA993F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2" name="Rectangle 9">
              <a:extLst>
                <a:ext uri="{FF2B5EF4-FFF2-40B4-BE49-F238E27FC236}">
                  <a16:creationId xmlns:a16="http://schemas.microsoft.com/office/drawing/2014/main" id="{626A5D63-C61D-476A-A2EC-68200DDB9C5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3" name="Rectangle 10">
              <a:extLst>
                <a:ext uri="{FF2B5EF4-FFF2-40B4-BE49-F238E27FC236}">
                  <a16:creationId xmlns:a16="http://schemas.microsoft.com/office/drawing/2014/main" id="{7CF26D08-DDCB-480D-A0A6-78132794DDF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Freeform 11">
              <a:extLst>
                <a:ext uri="{FF2B5EF4-FFF2-40B4-BE49-F238E27FC236}">
                  <a16:creationId xmlns:a16="http://schemas.microsoft.com/office/drawing/2014/main" id="{C480F8B4-FD1C-4275-AAA2-9419EC0B463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5" name="Freeform 12">
              <a:extLst>
                <a:ext uri="{FF2B5EF4-FFF2-40B4-BE49-F238E27FC236}">
                  <a16:creationId xmlns:a16="http://schemas.microsoft.com/office/drawing/2014/main" id="{5B7B28FE-7DA7-4E92-B122-4B8FF96D28B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6" name="Freeform 13">
              <a:extLst>
                <a:ext uri="{FF2B5EF4-FFF2-40B4-BE49-F238E27FC236}">
                  <a16:creationId xmlns:a16="http://schemas.microsoft.com/office/drawing/2014/main" id="{DD066F0D-1BE8-441F-AEA3-D80F502E6D2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7" name="Freeform 14">
              <a:extLst>
                <a:ext uri="{FF2B5EF4-FFF2-40B4-BE49-F238E27FC236}">
                  <a16:creationId xmlns:a16="http://schemas.microsoft.com/office/drawing/2014/main" id="{400E2E76-B6C3-46F1-A088-5C42F7BC8C55}"/>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Tree>
    <p:extLst>
      <p:ext uri="{BB962C8B-B14F-4D97-AF65-F5344CB8AC3E}">
        <p14:creationId xmlns:p14="http://schemas.microsoft.com/office/powerpoint/2010/main" val="61695341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6AE07-E0A0-4210-829F-74B737BC295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E42C271-EF3D-45A3-ABFB-30E86F581EC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32E5851-86DF-49FF-8390-A5AD8BAC348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1D4EA01-E9AB-4859-A2E0-479D2AA2351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D02A167-8F2B-4158-9765-E97405E474C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CF259F7-E0EF-41C5-A682-B348BEE67C92}"/>
              </a:ext>
            </a:extLst>
          </p:cNvPr>
          <p:cNvSpPr>
            <a:spLocks noGrp="1"/>
          </p:cNvSpPr>
          <p:nvPr>
            <p:ph type="dt" sz="half" idx="10"/>
          </p:nvPr>
        </p:nvSpPr>
        <p:spPr/>
        <p:txBody>
          <a:bodyPr/>
          <a:lstStyle/>
          <a:p>
            <a:fld id="{F8CA91BD-0DCA-46A3-B84C-E5A44F8A7F51}" type="datetime1">
              <a:rPr lang="en-US" smtClean="0"/>
              <a:t>6/24/2021</a:t>
            </a:fld>
            <a:endParaRPr lang="en-US"/>
          </a:p>
        </p:txBody>
      </p:sp>
      <p:sp>
        <p:nvSpPr>
          <p:cNvPr id="8" name="Footer Placeholder 7">
            <a:extLst>
              <a:ext uri="{FF2B5EF4-FFF2-40B4-BE49-F238E27FC236}">
                <a16:creationId xmlns:a16="http://schemas.microsoft.com/office/drawing/2014/main" id="{6C3A4CA9-0798-4CF4-A22A-63EE5BA74D8D}"/>
              </a:ext>
            </a:extLst>
          </p:cNvPr>
          <p:cNvSpPr>
            <a:spLocks noGrp="1"/>
          </p:cNvSpPr>
          <p:nvPr>
            <p:ph type="ftr" sz="quarter" idx="11"/>
          </p:nvPr>
        </p:nvSpPr>
        <p:spPr/>
        <p:txBody>
          <a:bodyPr/>
          <a:lstStyle/>
          <a:p>
            <a:r>
              <a:rPr lang="en-US"/>
              <a:t>Copyright @ 2020 Deloitte Development LLC. All rights reserved.</a:t>
            </a:r>
          </a:p>
        </p:txBody>
      </p:sp>
      <p:sp>
        <p:nvSpPr>
          <p:cNvPr id="9" name="Slide Number Placeholder 8">
            <a:extLst>
              <a:ext uri="{FF2B5EF4-FFF2-40B4-BE49-F238E27FC236}">
                <a16:creationId xmlns:a16="http://schemas.microsoft.com/office/drawing/2014/main" id="{CCAE7A80-099D-4E12-985F-704D63A9234B}"/>
              </a:ext>
            </a:extLst>
          </p:cNvPr>
          <p:cNvSpPr>
            <a:spLocks noGrp="1"/>
          </p:cNvSpPr>
          <p:nvPr>
            <p:ph type="sldNum" sz="quarter" idx="12"/>
          </p:nvPr>
        </p:nvSpPr>
        <p:spPr/>
        <p:txBody>
          <a:bodyPr/>
          <a:lstStyle/>
          <a:p>
            <a:fld id="{0378053D-D3D6-4900-B3A2-0AC1946A28D2}" type="slidenum">
              <a:rPr lang="en-US" smtClean="0"/>
              <a:t>‹#›</a:t>
            </a:fld>
            <a:endParaRPr lang="en-US"/>
          </a:p>
        </p:txBody>
      </p:sp>
    </p:spTree>
    <p:extLst>
      <p:ext uri="{BB962C8B-B14F-4D97-AF65-F5344CB8AC3E}">
        <p14:creationId xmlns:p14="http://schemas.microsoft.com/office/powerpoint/2010/main" val="6761387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501652" y="5186209"/>
            <a:ext cx="4446269" cy="895983"/>
          </a:xfrm>
          <a:prstGeom prst="rect">
            <a:avLst/>
          </a:prstGeom>
        </p:spPr>
        <p:txBody>
          <a:bodyPr anchor="b" anchorCtr="0">
            <a:noAutofit/>
          </a:bodyPr>
          <a:lstStyle>
            <a:lvl1pPr algn="l">
              <a:lnSpc>
                <a:spcPts val="2400"/>
              </a:lnSpc>
              <a:defRPr sz="2400" b="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a:t>
            </a:r>
            <a:br>
              <a:rPr lang="en-US" noProof="0" dirty="0"/>
            </a:br>
            <a:r>
              <a:rPr lang="en-US" noProof="0" dirty="0"/>
              <a:t>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05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8" name="Title 1">
            <a:extLst>
              <a:ext uri="{FF2B5EF4-FFF2-40B4-BE49-F238E27FC236}">
                <a16:creationId xmlns:a16="http://schemas.microsoft.com/office/drawing/2014/main" id="{BF939DF8-C67D-4ED5-9DBC-98F2B43BDAEA}"/>
              </a:ext>
            </a:extLst>
          </p:cNvPr>
          <p:cNvSpPr txBox="1">
            <a:spLocks/>
          </p:cNvSpPr>
          <p:nvPr userDrawn="1"/>
        </p:nvSpPr>
        <p:spPr bwMode="gray">
          <a:xfrm>
            <a:off x="3015598" y="904143"/>
            <a:ext cx="6160804" cy="4620603"/>
          </a:xfrm>
          <a:prstGeom prst="ellipse">
            <a:avLst/>
          </a:prstGeom>
          <a:ln w="25400">
            <a:solidFill>
              <a:schemeClr val="accent1"/>
            </a:solidFill>
          </a:ln>
        </p:spPr>
        <p:txBody>
          <a:bodyPr vert="horz" lIns="81000" tIns="81000" rIns="81000" bIns="81000" rtlCol="0" anchor="ctr" anchorCtr="0">
            <a:normAutofit/>
          </a:bodyPr>
          <a:lstStyle>
            <a:lvl1pPr algn="ctr" defTabSz="914400" rtl="0" eaLnBrk="1" latinLnBrk="0" hangingPunct="1">
              <a:lnSpc>
                <a:spcPts val="4200"/>
              </a:lnSpc>
              <a:spcBef>
                <a:spcPct val="0"/>
              </a:spcBef>
              <a:buNone/>
              <a:defRPr sz="3600" b="0" kern="1200">
                <a:solidFill>
                  <a:schemeClr val="tx1"/>
                </a:solidFill>
                <a:latin typeface="+mj-lt"/>
                <a:ea typeface="Open Sans" panose="020B0606030504020204" pitchFamily="34" charset="0"/>
                <a:cs typeface="Open Sans" panose="020B0606030504020204" pitchFamily="34" charset="0"/>
              </a:defRPr>
            </a:lvl1pPr>
          </a:lstStyle>
          <a:p>
            <a:r>
              <a:rPr lang="en-US" sz="2700" dirty="0"/>
              <a:t>Click to edit Master title style</a:t>
            </a:r>
          </a:p>
        </p:txBody>
      </p:sp>
      <p:grpSp>
        <p:nvGrpSpPr>
          <p:cNvPr id="29" name="Group 28">
            <a:extLst>
              <a:ext uri="{FF2B5EF4-FFF2-40B4-BE49-F238E27FC236}">
                <a16:creationId xmlns:a16="http://schemas.microsoft.com/office/drawing/2014/main" id="{514B2268-F12F-46F8-BE27-6EBBA98A8CF0}"/>
              </a:ext>
            </a:extLst>
          </p:cNvPr>
          <p:cNvGrpSpPr/>
          <p:nvPr userDrawn="1"/>
        </p:nvGrpSpPr>
        <p:grpSpPr>
          <a:xfrm>
            <a:off x="503988" y="378000"/>
            <a:ext cx="2160000" cy="307976"/>
            <a:chOff x="398463" y="404813"/>
            <a:chExt cx="1627187" cy="307976"/>
          </a:xfrm>
          <a:solidFill>
            <a:schemeClr val="tx1"/>
          </a:solidFill>
        </p:grpSpPr>
        <p:sp>
          <p:nvSpPr>
            <p:cNvPr id="44" name="Oval 5">
              <a:extLst>
                <a:ext uri="{FF2B5EF4-FFF2-40B4-BE49-F238E27FC236}">
                  <a16:creationId xmlns:a16="http://schemas.microsoft.com/office/drawing/2014/main" id="{3055025C-A907-4A28-820F-76829043164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5" name="Freeform 6">
              <a:extLst>
                <a:ext uri="{FF2B5EF4-FFF2-40B4-BE49-F238E27FC236}">
                  <a16:creationId xmlns:a16="http://schemas.microsoft.com/office/drawing/2014/main" id="{F9BF8FC5-CE9D-467E-9C4B-0C64EF94F66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6" name="Rectangle 7">
              <a:extLst>
                <a:ext uri="{FF2B5EF4-FFF2-40B4-BE49-F238E27FC236}">
                  <a16:creationId xmlns:a16="http://schemas.microsoft.com/office/drawing/2014/main" id="{1E80BBD9-99AC-48AD-AA19-E34A965A997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7" name="Freeform 8">
              <a:extLst>
                <a:ext uri="{FF2B5EF4-FFF2-40B4-BE49-F238E27FC236}">
                  <a16:creationId xmlns:a16="http://schemas.microsoft.com/office/drawing/2014/main" id="{A96C5F56-12C4-4592-9CAD-AEFF66B612FD}"/>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8" name="Rectangle 9">
              <a:extLst>
                <a:ext uri="{FF2B5EF4-FFF2-40B4-BE49-F238E27FC236}">
                  <a16:creationId xmlns:a16="http://schemas.microsoft.com/office/drawing/2014/main" id="{33D39544-1E93-4BD5-B818-2372E29F723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9" name="Rectangle 10">
              <a:extLst>
                <a:ext uri="{FF2B5EF4-FFF2-40B4-BE49-F238E27FC236}">
                  <a16:creationId xmlns:a16="http://schemas.microsoft.com/office/drawing/2014/main" id="{8C13C80B-4B7F-4CAC-A095-849EC5B75511}"/>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0" name="Freeform 11">
              <a:extLst>
                <a:ext uri="{FF2B5EF4-FFF2-40B4-BE49-F238E27FC236}">
                  <a16:creationId xmlns:a16="http://schemas.microsoft.com/office/drawing/2014/main" id="{0A379A4A-23CB-496B-A9C7-CE3B7B6C230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1" name="Freeform 12">
              <a:extLst>
                <a:ext uri="{FF2B5EF4-FFF2-40B4-BE49-F238E27FC236}">
                  <a16:creationId xmlns:a16="http://schemas.microsoft.com/office/drawing/2014/main" id="{A01F430F-9FED-4509-A058-D05DC2F8988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2" name="Freeform 13">
              <a:extLst>
                <a:ext uri="{FF2B5EF4-FFF2-40B4-BE49-F238E27FC236}">
                  <a16:creationId xmlns:a16="http://schemas.microsoft.com/office/drawing/2014/main" id="{D280E5F1-1D0C-4FBC-9CEA-A13E17E4C61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3" name="Freeform 14">
              <a:extLst>
                <a:ext uri="{FF2B5EF4-FFF2-40B4-BE49-F238E27FC236}">
                  <a16:creationId xmlns:a16="http://schemas.microsoft.com/office/drawing/2014/main" id="{3A02C093-E6F8-42AD-B140-367FFC07A1B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23256506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3" y="2125013"/>
            <a:ext cx="5349128" cy="3996000"/>
          </a:xfrm>
        </p:spPr>
        <p:txBody>
          <a:bodyPr>
            <a:noAutofit/>
          </a:bodyPr>
          <a:lstStyle>
            <a:lvl1pPr>
              <a:defRPr sz="1300"/>
            </a:lvl1p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noAutofit/>
          </a:bodyPr>
          <a:lstStyle>
            <a:lvl1pPr>
              <a:defRPr sz="1300"/>
            </a:lvl1pPr>
          </a:lstStyle>
          <a:p>
            <a:pPr lvl="0"/>
            <a:r>
              <a:rPr lang="en-US" noProof="0"/>
              <a:t>Click to edit Master text styles</a:t>
            </a:r>
          </a:p>
        </p:txBody>
      </p:sp>
      <p:sp>
        <p:nvSpPr>
          <p:cNvPr id="15" name="Text Placeholder 7"/>
          <p:cNvSpPr>
            <a:spLocks noGrp="1"/>
          </p:cNvSpPr>
          <p:nvPr>
            <p:ph type="body" sz="quarter" idx="23"/>
          </p:nvPr>
        </p:nvSpPr>
        <p:spPr>
          <a:xfrm>
            <a:off x="501651" y="6121016"/>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000">
                <a:latin typeface="+mj-lt"/>
              </a:defRPr>
            </a:lvl1pPr>
          </a:lstStyle>
          <a:p>
            <a:r>
              <a:rPr lang="en-US" dirty="0"/>
              <a:t>Click to add title</a:t>
            </a:r>
          </a:p>
        </p:txBody>
      </p:sp>
      <p:sp>
        <p:nvSpPr>
          <p:cNvPr id="12" name="Content Placeholder 3">
            <a:extLst>
              <a:ext uri="{FF2B5EF4-FFF2-40B4-BE49-F238E27FC236}">
                <a16:creationId xmlns:a16="http://schemas.microsoft.com/office/drawing/2014/main" id="{2B09C439-6EAE-4988-B2EB-173546F60C3E}"/>
              </a:ext>
            </a:extLst>
          </p:cNvPr>
          <p:cNvSpPr>
            <a:spLocks noGrp="1"/>
          </p:cNvSpPr>
          <p:nvPr>
            <p:ph sz="quarter" idx="10"/>
          </p:nvPr>
        </p:nvSpPr>
        <p:spPr>
          <a:xfrm>
            <a:off x="501651" y="1665290"/>
            <a:ext cx="5305580" cy="4716461"/>
          </a:xfrm>
          <a:prstGeom prst="rect">
            <a:avLst/>
          </a:prstGeom>
        </p:spPr>
        <p:txBody>
          <a:bodyPr>
            <a:noAutofit/>
          </a:bodyPr>
          <a:lstStyle>
            <a:lvl1pPr marL="0" indent="0" algn="l">
              <a:buFontTx/>
              <a:buNone/>
              <a:tabLst>
                <a:tab pos="3771900" algn="r"/>
              </a:tabLst>
              <a:defRPr sz="1300"/>
            </a:lvl1pPr>
            <a:lvl2pPr marL="139700" indent="-139700" algn="l">
              <a:buClrTx/>
              <a:buSzPct val="100000"/>
              <a:buFont typeface="Arial" panose="020B0604020202020204" pitchFamily="34" charset="0"/>
              <a:buChar char="•"/>
              <a:tabLst>
                <a:tab pos="3771900" algn="r"/>
              </a:tabLst>
              <a:defRPr sz="1300"/>
            </a:lvl2pPr>
            <a:lvl3pPr marL="304800" indent="-139700" algn="l">
              <a:buClrTx/>
              <a:buSzPct val="100000"/>
              <a:buFont typeface="Arial" panose="020B0604020202020204" pitchFamily="34" charset="0"/>
              <a:buChar char="−"/>
              <a:tabLst>
                <a:tab pos="3771900" algn="r"/>
              </a:tabLst>
              <a:defRPr sz="1300"/>
            </a:lvl3pPr>
            <a:lvl4pPr marL="469900" indent="-139700" algn="l">
              <a:buClrTx/>
              <a:buSzPct val="100000"/>
              <a:buFont typeface="Arial" panose="020B0604020202020204" pitchFamily="34" charset="0"/>
              <a:buChar char="◦"/>
              <a:tabLst>
                <a:tab pos="3771900" algn="r"/>
              </a:tabLst>
              <a:defRPr sz="1300"/>
            </a:lvl4pPr>
            <a:lvl5pPr marL="635000" indent="-139700" algn="l">
              <a:buClrTx/>
              <a:buSzPct val="100000"/>
              <a:buFont typeface="Arial" panose="020B0604020202020204" pitchFamily="34" charset="0"/>
              <a:buChar char="−"/>
              <a:tabLst>
                <a:tab pos="3771900" algn="r"/>
              </a:tabLst>
              <a:defRPr sz="1300" baseline="0"/>
            </a:lvl5pPr>
            <a:lvl6pPr>
              <a:defRPr sz="1200"/>
            </a:lvl6pPr>
            <a:lvl7pPr>
              <a:defRPr sz="1200"/>
            </a:lvl7pPr>
            <a:lvl8pPr>
              <a:defRPr sz="1200"/>
            </a:lvl8pPr>
            <a:lvl9pPr>
              <a:defRPr sz="1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326250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2700" spc="-56" dirty="0">
                <a:latin typeface="+mj-lt"/>
              </a:defRPr>
            </a:lvl1pPr>
          </a:lstStyle>
          <a:p>
            <a:pPr lvl="0" defTabSz="51435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900"/>
            </a:lvl1pPr>
          </a:lstStyle>
          <a:p>
            <a:pPr marL="171450" lvl="0" indent="-17145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675" b="1" kern="0" cap="all" spc="188" baseline="0" dirty="0">
                <a:solidFill>
                  <a:schemeClr val="accent5">
                    <a:lumMod val="60000"/>
                    <a:lumOff val="40000"/>
                  </a:schemeClr>
                </a:solidFill>
                <a:ea typeface="Nexa Black" charset="0"/>
                <a:cs typeface="Nexa Black" charset="0"/>
              </a:defRPr>
            </a:lvl1pPr>
          </a:lstStyle>
          <a:p>
            <a:pPr marL="171450" lvl="0" indent="-171450"/>
            <a:r>
              <a:rPr lang="en-US"/>
              <a:t>BREADCRUMBS</a:t>
            </a:r>
          </a:p>
        </p:txBody>
      </p:sp>
    </p:spTree>
    <p:extLst>
      <p:ext uri="{BB962C8B-B14F-4D97-AF65-F5344CB8AC3E}">
        <p14:creationId xmlns:p14="http://schemas.microsoft.com/office/powerpoint/2010/main" val="39663532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B4951F-F55B-4F8B-91D6-F942AAF55A3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6FDF5F-0CB1-4C35-AB9D-4901E620CDB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2F172F-1166-40AD-B1CC-9CB8D7E8A069}"/>
              </a:ext>
            </a:extLst>
          </p:cNvPr>
          <p:cNvSpPr>
            <a:spLocks noGrp="1"/>
          </p:cNvSpPr>
          <p:nvPr>
            <p:ph type="dt" sz="half" idx="10"/>
          </p:nvPr>
        </p:nvSpPr>
        <p:spPr/>
        <p:txBody>
          <a:bodyPr/>
          <a:lstStyle/>
          <a:p>
            <a:fld id="{85A919CD-6105-43C0-A038-C5D51E08C11C}" type="datetime1">
              <a:rPr lang="en-US" smtClean="0"/>
              <a:t>6/24/2021</a:t>
            </a:fld>
            <a:endParaRPr lang="en-US"/>
          </a:p>
        </p:txBody>
      </p:sp>
      <p:sp>
        <p:nvSpPr>
          <p:cNvPr id="5" name="Footer Placeholder 4">
            <a:extLst>
              <a:ext uri="{FF2B5EF4-FFF2-40B4-BE49-F238E27FC236}">
                <a16:creationId xmlns:a16="http://schemas.microsoft.com/office/drawing/2014/main" id="{2F9F335B-1C7B-4AE4-A09E-14435A76DE35}"/>
              </a:ext>
            </a:extLst>
          </p:cNvPr>
          <p:cNvSpPr>
            <a:spLocks noGrp="1"/>
          </p:cNvSpPr>
          <p:nvPr>
            <p:ph type="ftr" sz="quarter" idx="11"/>
          </p:nvPr>
        </p:nvSpPr>
        <p:spPr/>
        <p:txBody>
          <a:bodyPr/>
          <a:lstStyle/>
          <a:p>
            <a:r>
              <a:rPr lang="en-US"/>
              <a:t>Copyright @ 2020 Deloitte Development LLC. All rights reserved.</a:t>
            </a:r>
          </a:p>
        </p:txBody>
      </p:sp>
      <p:sp>
        <p:nvSpPr>
          <p:cNvPr id="6" name="Slide Number Placeholder 5">
            <a:extLst>
              <a:ext uri="{FF2B5EF4-FFF2-40B4-BE49-F238E27FC236}">
                <a16:creationId xmlns:a16="http://schemas.microsoft.com/office/drawing/2014/main" id="{55706812-4EAA-4724-A322-E54A7F3D56D6}"/>
              </a:ext>
            </a:extLst>
          </p:cNvPr>
          <p:cNvSpPr>
            <a:spLocks noGrp="1"/>
          </p:cNvSpPr>
          <p:nvPr>
            <p:ph type="sldNum" sz="quarter" idx="12"/>
          </p:nvPr>
        </p:nvSpPr>
        <p:spPr/>
        <p:txBody>
          <a:bodyPr/>
          <a:lstStyle/>
          <a:p>
            <a:fld id="{F55D1997-1C9C-4505-BF44-23F9FF7C5BC6}" type="slidenum">
              <a:rPr lang="en-US" smtClean="0"/>
              <a:t>‹#›</a:t>
            </a:fld>
            <a:endParaRPr lang="en-US"/>
          </a:p>
        </p:txBody>
      </p:sp>
    </p:spTree>
    <p:extLst>
      <p:ext uri="{BB962C8B-B14F-4D97-AF65-F5344CB8AC3E}">
        <p14:creationId xmlns:p14="http://schemas.microsoft.com/office/powerpoint/2010/main" val="393619577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noProof="0"/>
              <a:t>Click to edit Master text styles</a:t>
            </a:r>
          </a:p>
        </p:txBody>
      </p:sp>
      <p:grpSp>
        <p:nvGrpSpPr>
          <p:cNvPr id="9" name="Group 8"/>
          <p:cNvGrpSpPr/>
          <p:nvPr userDrawn="1"/>
        </p:nvGrpSpPr>
        <p:grpSpPr>
          <a:xfrm>
            <a:off x="503988" y="378000"/>
            <a:ext cx="216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9292778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D83ADD-390A-4CCA-A4F3-6BF7A12181F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4B70A05-819A-400F-BF14-B97D46005D5D}"/>
              </a:ext>
            </a:extLst>
          </p:cNvPr>
          <p:cNvSpPr>
            <a:spLocks noGrp="1"/>
          </p:cNvSpPr>
          <p:nvPr>
            <p:ph type="dt" sz="half" idx="10"/>
          </p:nvPr>
        </p:nvSpPr>
        <p:spPr/>
        <p:txBody>
          <a:bodyPr/>
          <a:lstStyle/>
          <a:p>
            <a:fld id="{3B72EA37-D558-4C54-906E-5DCA96FE1B28}" type="datetime1">
              <a:rPr lang="en-US" smtClean="0"/>
              <a:t>6/24/2021</a:t>
            </a:fld>
            <a:endParaRPr lang="en-US"/>
          </a:p>
        </p:txBody>
      </p:sp>
      <p:sp>
        <p:nvSpPr>
          <p:cNvPr id="4" name="Footer Placeholder 3">
            <a:extLst>
              <a:ext uri="{FF2B5EF4-FFF2-40B4-BE49-F238E27FC236}">
                <a16:creationId xmlns:a16="http://schemas.microsoft.com/office/drawing/2014/main" id="{C1A4AC4B-CA1E-40D2-B4AD-B7715619EA79}"/>
              </a:ext>
            </a:extLst>
          </p:cNvPr>
          <p:cNvSpPr>
            <a:spLocks noGrp="1"/>
          </p:cNvSpPr>
          <p:nvPr>
            <p:ph type="ftr" sz="quarter" idx="11"/>
          </p:nvPr>
        </p:nvSpPr>
        <p:spPr/>
        <p:txBody>
          <a:bodyPr/>
          <a:lstStyle/>
          <a:p>
            <a:r>
              <a:rPr lang="en-US"/>
              <a:t>Copyright @ 2020 Deloitte Development LLC. All rights reserved.</a:t>
            </a:r>
          </a:p>
        </p:txBody>
      </p:sp>
      <p:sp>
        <p:nvSpPr>
          <p:cNvPr id="5" name="Slide Number Placeholder 4">
            <a:extLst>
              <a:ext uri="{FF2B5EF4-FFF2-40B4-BE49-F238E27FC236}">
                <a16:creationId xmlns:a16="http://schemas.microsoft.com/office/drawing/2014/main" id="{805AF9FA-4B00-4662-A8B1-5DE77154728E}"/>
              </a:ext>
            </a:extLst>
          </p:cNvPr>
          <p:cNvSpPr>
            <a:spLocks noGrp="1"/>
          </p:cNvSpPr>
          <p:nvPr>
            <p:ph type="sldNum" sz="quarter" idx="12"/>
          </p:nvPr>
        </p:nvSpPr>
        <p:spPr/>
        <p:txBody>
          <a:bodyPr/>
          <a:lstStyle/>
          <a:p>
            <a:fld id="{0378053D-D3D6-4900-B3A2-0AC1946A28D2}" type="slidenum">
              <a:rPr lang="en-US" smtClean="0"/>
              <a:t>‹#›</a:t>
            </a:fld>
            <a:endParaRPr lang="en-US"/>
          </a:p>
        </p:txBody>
      </p:sp>
    </p:spTree>
    <p:extLst>
      <p:ext uri="{BB962C8B-B14F-4D97-AF65-F5344CB8AC3E}">
        <p14:creationId xmlns:p14="http://schemas.microsoft.com/office/powerpoint/2010/main" val="30480610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43F4FB-D279-4863-80E7-32933DDA67E0}"/>
              </a:ext>
            </a:extLst>
          </p:cNvPr>
          <p:cNvSpPr>
            <a:spLocks noGrp="1"/>
          </p:cNvSpPr>
          <p:nvPr>
            <p:ph type="dt" sz="half" idx="10"/>
          </p:nvPr>
        </p:nvSpPr>
        <p:spPr/>
        <p:txBody>
          <a:bodyPr/>
          <a:lstStyle/>
          <a:p>
            <a:fld id="{B8552146-307A-4D95-838B-674DD4CB5393}" type="datetime1">
              <a:rPr lang="en-US" smtClean="0"/>
              <a:t>6/24/2021</a:t>
            </a:fld>
            <a:endParaRPr lang="en-US"/>
          </a:p>
        </p:txBody>
      </p:sp>
      <p:sp>
        <p:nvSpPr>
          <p:cNvPr id="3" name="Footer Placeholder 2">
            <a:extLst>
              <a:ext uri="{FF2B5EF4-FFF2-40B4-BE49-F238E27FC236}">
                <a16:creationId xmlns:a16="http://schemas.microsoft.com/office/drawing/2014/main" id="{59F15997-5F0A-494B-B314-9ADD8DAC47FA}"/>
              </a:ext>
            </a:extLst>
          </p:cNvPr>
          <p:cNvSpPr>
            <a:spLocks noGrp="1"/>
          </p:cNvSpPr>
          <p:nvPr>
            <p:ph type="ftr" sz="quarter" idx="11"/>
          </p:nvPr>
        </p:nvSpPr>
        <p:spPr/>
        <p:txBody>
          <a:bodyPr/>
          <a:lstStyle/>
          <a:p>
            <a:r>
              <a:rPr lang="en-US"/>
              <a:t>Copyright @ 2020 Deloitte Development LLC. All rights reserved.</a:t>
            </a:r>
          </a:p>
        </p:txBody>
      </p:sp>
      <p:sp>
        <p:nvSpPr>
          <p:cNvPr id="4" name="Slide Number Placeholder 3">
            <a:extLst>
              <a:ext uri="{FF2B5EF4-FFF2-40B4-BE49-F238E27FC236}">
                <a16:creationId xmlns:a16="http://schemas.microsoft.com/office/drawing/2014/main" id="{0AE4DB88-3C5F-455D-9D06-59223EE39E42}"/>
              </a:ext>
            </a:extLst>
          </p:cNvPr>
          <p:cNvSpPr>
            <a:spLocks noGrp="1"/>
          </p:cNvSpPr>
          <p:nvPr>
            <p:ph type="sldNum" sz="quarter" idx="12"/>
          </p:nvPr>
        </p:nvSpPr>
        <p:spPr/>
        <p:txBody>
          <a:bodyPr/>
          <a:lstStyle/>
          <a:p>
            <a:fld id="{0378053D-D3D6-4900-B3A2-0AC1946A28D2}" type="slidenum">
              <a:rPr lang="en-US" smtClean="0"/>
              <a:t>‹#›</a:t>
            </a:fld>
            <a:endParaRPr lang="en-US"/>
          </a:p>
        </p:txBody>
      </p:sp>
    </p:spTree>
    <p:extLst>
      <p:ext uri="{BB962C8B-B14F-4D97-AF65-F5344CB8AC3E}">
        <p14:creationId xmlns:p14="http://schemas.microsoft.com/office/powerpoint/2010/main" val="7058446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A51A5-D508-40BF-B8DB-2456A75D6FE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73CE48B-8DF5-4EE5-8CAC-3C9CDA66E5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2CE48BA-EB4A-4369-931B-81E85BD383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4CC27E2-B843-40EC-BFE8-C5AB26B4CB92}"/>
              </a:ext>
            </a:extLst>
          </p:cNvPr>
          <p:cNvSpPr>
            <a:spLocks noGrp="1"/>
          </p:cNvSpPr>
          <p:nvPr>
            <p:ph type="dt" sz="half" idx="10"/>
          </p:nvPr>
        </p:nvSpPr>
        <p:spPr/>
        <p:txBody>
          <a:bodyPr/>
          <a:lstStyle/>
          <a:p>
            <a:fld id="{2FBD89F7-BF29-497E-AA7F-AF8ECEA454CB}" type="datetime1">
              <a:rPr lang="en-US" smtClean="0"/>
              <a:t>6/24/2021</a:t>
            </a:fld>
            <a:endParaRPr lang="en-US"/>
          </a:p>
        </p:txBody>
      </p:sp>
      <p:sp>
        <p:nvSpPr>
          <p:cNvPr id="6" name="Footer Placeholder 5">
            <a:extLst>
              <a:ext uri="{FF2B5EF4-FFF2-40B4-BE49-F238E27FC236}">
                <a16:creationId xmlns:a16="http://schemas.microsoft.com/office/drawing/2014/main" id="{224678A7-6CAB-4A29-B931-30D4CD0F492E}"/>
              </a:ext>
            </a:extLst>
          </p:cNvPr>
          <p:cNvSpPr>
            <a:spLocks noGrp="1"/>
          </p:cNvSpPr>
          <p:nvPr>
            <p:ph type="ftr" sz="quarter" idx="11"/>
          </p:nvPr>
        </p:nvSpPr>
        <p:spPr/>
        <p:txBody>
          <a:bodyPr/>
          <a:lstStyle/>
          <a:p>
            <a:r>
              <a:rPr lang="en-US"/>
              <a:t>Copyright @ 2020 Deloitte Development LLC. All rights reserved.</a:t>
            </a:r>
          </a:p>
        </p:txBody>
      </p:sp>
      <p:sp>
        <p:nvSpPr>
          <p:cNvPr id="7" name="Slide Number Placeholder 6">
            <a:extLst>
              <a:ext uri="{FF2B5EF4-FFF2-40B4-BE49-F238E27FC236}">
                <a16:creationId xmlns:a16="http://schemas.microsoft.com/office/drawing/2014/main" id="{28816E5E-F346-46C5-AA3D-87870A437410}"/>
              </a:ext>
            </a:extLst>
          </p:cNvPr>
          <p:cNvSpPr>
            <a:spLocks noGrp="1"/>
          </p:cNvSpPr>
          <p:nvPr>
            <p:ph type="sldNum" sz="quarter" idx="12"/>
          </p:nvPr>
        </p:nvSpPr>
        <p:spPr/>
        <p:txBody>
          <a:bodyPr/>
          <a:lstStyle/>
          <a:p>
            <a:fld id="{0378053D-D3D6-4900-B3A2-0AC1946A28D2}" type="slidenum">
              <a:rPr lang="en-US" smtClean="0"/>
              <a:t>‹#›</a:t>
            </a:fld>
            <a:endParaRPr lang="en-US"/>
          </a:p>
        </p:txBody>
      </p:sp>
    </p:spTree>
    <p:extLst>
      <p:ext uri="{BB962C8B-B14F-4D97-AF65-F5344CB8AC3E}">
        <p14:creationId xmlns:p14="http://schemas.microsoft.com/office/powerpoint/2010/main" val="36742376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35DB98-6474-4256-BF45-9D0C6A37297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A98812D-BCC0-4204-8EAE-F9549F3D5E5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9C3E59A-C675-4820-8D78-29D31BF0F1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8930AF7-1DCD-4851-9A24-2A86D1985DA9}"/>
              </a:ext>
            </a:extLst>
          </p:cNvPr>
          <p:cNvSpPr>
            <a:spLocks noGrp="1"/>
          </p:cNvSpPr>
          <p:nvPr>
            <p:ph type="dt" sz="half" idx="10"/>
          </p:nvPr>
        </p:nvSpPr>
        <p:spPr/>
        <p:txBody>
          <a:bodyPr/>
          <a:lstStyle/>
          <a:p>
            <a:fld id="{BFE57AF4-64FF-4C5B-9155-38E5757542B2}" type="datetime1">
              <a:rPr lang="en-US" smtClean="0"/>
              <a:t>6/24/2021</a:t>
            </a:fld>
            <a:endParaRPr lang="en-US"/>
          </a:p>
        </p:txBody>
      </p:sp>
      <p:sp>
        <p:nvSpPr>
          <p:cNvPr id="6" name="Footer Placeholder 5">
            <a:extLst>
              <a:ext uri="{FF2B5EF4-FFF2-40B4-BE49-F238E27FC236}">
                <a16:creationId xmlns:a16="http://schemas.microsoft.com/office/drawing/2014/main" id="{04FC10BA-65A9-426A-AD3D-EE4C2D89A2FB}"/>
              </a:ext>
            </a:extLst>
          </p:cNvPr>
          <p:cNvSpPr>
            <a:spLocks noGrp="1"/>
          </p:cNvSpPr>
          <p:nvPr>
            <p:ph type="ftr" sz="quarter" idx="11"/>
          </p:nvPr>
        </p:nvSpPr>
        <p:spPr/>
        <p:txBody>
          <a:bodyPr/>
          <a:lstStyle/>
          <a:p>
            <a:r>
              <a:rPr lang="en-US"/>
              <a:t>Copyright @ 2020 Deloitte Development LLC. All rights reserved.</a:t>
            </a:r>
          </a:p>
        </p:txBody>
      </p:sp>
      <p:sp>
        <p:nvSpPr>
          <p:cNvPr id="7" name="Slide Number Placeholder 6">
            <a:extLst>
              <a:ext uri="{FF2B5EF4-FFF2-40B4-BE49-F238E27FC236}">
                <a16:creationId xmlns:a16="http://schemas.microsoft.com/office/drawing/2014/main" id="{1B3A6D50-927D-470C-841F-B526DC2E053F}"/>
              </a:ext>
            </a:extLst>
          </p:cNvPr>
          <p:cNvSpPr>
            <a:spLocks noGrp="1"/>
          </p:cNvSpPr>
          <p:nvPr>
            <p:ph type="sldNum" sz="quarter" idx="12"/>
          </p:nvPr>
        </p:nvSpPr>
        <p:spPr/>
        <p:txBody>
          <a:bodyPr/>
          <a:lstStyle/>
          <a:p>
            <a:fld id="{0378053D-D3D6-4900-B3A2-0AC1946A28D2}" type="slidenum">
              <a:rPr lang="en-US" smtClean="0"/>
              <a:t>‹#›</a:t>
            </a:fld>
            <a:endParaRPr lang="en-US"/>
          </a:p>
        </p:txBody>
      </p:sp>
    </p:spTree>
    <p:extLst>
      <p:ext uri="{BB962C8B-B14F-4D97-AF65-F5344CB8AC3E}">
        <p14:creationId xmlns:p14="http://schemas.microsoft.com/office/powerpoint/2010/main" val="39625945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9" Type="http://schemas.openxmlformats.org/officeDocument/2006/relationships/slideLayout" Target="../slideLayouts/slideLayout53.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34" Type="http://schemas.openxmlformats.org/officeDocument/2006/relationships/slideLayout" Target="../slideLayouts/slideLayout48.xml"/><Relationship Id="rId42" Type="http://schemas.openxmlformats.org/officeDocument/2006/relationships/vmlDrawing" Target="../drawings/vmlDrawing1.v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slideLayout" Target="../slideLayouts/slideLayout43.xml"/><Relationship Id="rId41" Type="http://schemas.openxmlformats.org/officeDocument/2006/relationships/theme" Target="../theme/theme2.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40" Type="http://schemas.openxmlformats.org/officeDocument/2006/relationships/slideLayout" Target="../slideLayouts/slideLayout54.xml"/><Relationship Id="rId45" Type="http://schemas.openxmlformats.org/officeDocument/2006/relationships/image" Target="../media/image1.emf"/><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slideLayout" Target="../slideLayouts/slideLayout45.xml"/><Relationship Id="rId44" Type="http://schemas.openxmlformats.org/officeDocument/2006/relationships/oleObject" Target="../embeddings/oleObject1.bin"/><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43"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4E9F07-0210-43DB-9AED-C4166C36910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01CDB45-3E11-4CB1-BD39-24DE6FF036B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8511AC-1170-4821-8D71-FA649D10550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9676721-3149-497B-81B2-AB0565487B7F}" type="datetime1">
              <a:rPr lang="en-US" smtClean="0"/>
              <a:t>6/24/2021</a:t>
            </a:fld>
            <a:endParaRPr lang="en-US"/>
          </a:p>
        </p:txBody>
      </p:sp>
      <p:sp>
        <p:nvSpPr>
          <p:cNvPr id="5" name="Footer Placeholder 4">
            <a:extLst>
              <a:ext uri="{FF2B5EF4-FFF2-40B4-BE49-F238E27FC236}">
                <a16:creationId xmlns:a16="http://schemas.microsoft.com/office/drawing/2014/main" id="{39336A96-9318-4B95-A6DE-45861A3243B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pyright @ 2020 Deloitte Development LLC. All rights reserved.</a:t>
            </a:r>
          </a:p>
        </p:txBody>
      </p:sp>
      <p:sp>
        <p:nvSpPr>
          <p:cNvPr id="6" name="Slide Number Placeholder 5">
            <a:extLst>
              <a:ext uri="{FF2B5EF4-FFF2-40B4-BE49-F238E27FC236}">
                <a16:creationId xmlns:a16="http://schemas.microsoft.com/office/drawing/2014/main" id="{08B0DB2E-5F1E-46C7-BAD7-FF847C5CEFD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78053D-D3D6-4900-B3A2-0AC1946A28D2}" type="slidenum">
              <a:rPr lang="en-US" smtClean="0"/>
              <a:t>‹#›</a:t>
            </a:fld>
            <a:endParaRPr lang="en-US"/>
          </a:p>
        </p:txBody>
      </p:sp>
    </p:spTree>
    <p:extLst>
      <p:ext uri="{BB962C8B-B14F-4D97-AF65-F5344CB8AC3E}">
        <p14:creationId xmlns:p14="http://schemas.microsoft.com/office/powerpoint/2010/main" val="22710080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02" r:id="rId12"/>
    <p:sldLayoutId id="2147483703" r:id="rId13"/>
    <p:sldLayoutId id="2147483704"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3081560686"/>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52"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nvSpPr>
        <p:spPr>
          <a:xfrm>
            <a:off x="6335184" y="6477002"/>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Datorama Industry Playbook</a:t>
            </a:r>
          </a:p>
        </p:txBody>
      </p:sp>
      <p:sp>
        <p:nvSpPr>
          <p:cNvPr id="18" name="Copyright"/>
          <p:cNvSpPr txBox="1"/>
          <p:nvPr/>
        </p:nvSpPr>
        <p:spPr>
          <a:xfrm>
            <a:off x="501649" y="6477000"/>
            <a:ext cx="5355168" cy="100027"/>
          </a:xfrm>
          <a:prstGeom prst="rect">
            <a:avLst/>
          </a:prstGeom>
          <a:noFill/>
        </p:spPr>
        <p:txBody>
          <a:bodyPr vert="horz" wrap="square" lIns="0" tIns="0" rIns="0" bIns="0" rtlCol="0" anchor="t">
            <a:noAutofit/>
          </a:bodyPr>
          <a:lstStyle/>
          <a:p>
            <a:pPr marL="0" indent="0" algn="l" defTabSz="914400" rtl="0" eaLnBrk="1" latinLnBrk="0" hangingPunct="1">
              <a:spcBef>
                <a:spcPts val="450"/>
              </a:spcBef>
              <a:buSzPct val="100000"/>
              <a:buFont typeface="Arial"/>
              <a:buNone/>
            </a:pPr>
            <a:r>
              <a:rPr lang="en-US" sz="900" b="0" noProof="0" dirty="0">
                <a:solidFill>
                  <a:schemeClr val="tx1"/>
                </a:solidFill>
                <a:latin typeface="+mn-lt"/>
                <a:cs typeface="Calibri" panose="020F0502020204030204" pitchFamily="34" charset="0"/>
              </a:rPr>
              <a:t>Copyright © 2020 Deloitte Development LLC. All rights reserved.</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747692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Lst>
  <p:transition>
    <p:fade/>
  </p:transition>
  <p:hf hdr="0" dt="0"/>
  <p:txStyles>
    <p:titleStyle>
      <a:lvl1pPr algn="l" defTabSz="685800" rtl="0" eaLnBrk="1" latinLnBrk="0" hangingPunct="1">
        <a:spcBef>
          <a:spcPct val="0"/>
        </a:spcBef>
        <a:buNone/>
        <a:defRPr sz="20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685800" rtl="0" eaLnBrk="1" latinLnBrk="0" hangingPunct="1">
        <a:spcBef>
          <a:spcPts val="0"/>
        </a:spcBef>
        <a:spcAft>
          <a:spcPts val="75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685800" rtl="0" eaLnBrk="1" latinLnBrk="0" hangingPunct="1">
        <a:spcBef>
          <a:spcPts val="0"/>
        </a:spcBef>
        <a:spcAft>
          <a:spcPts val="75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685800" rtl="0" eaLnBrk="1" latinLnBrk="0" hangingPunct="1">
        <a:spcBef>
          <a:spcPts val="0"/>
        </a:spcBef>
        <a:spcAft>
          <a:spcPts val="75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598885" rtl="0" eaLnBrk="1" latinLnBrk="0" hangingPunct="1">
        <a:spcBef>
          <a:spcPts val="0"/>
        </a:spcBef>
        <a:spcAft>
          <a:spcPts val="75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312">
          <p15:clr>
            <a:srgbClr val="F26B43"/>
          </p15:clr>
        </p15:guide>
        <p15:guide id="27" pos="7368">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hyperlink" Target="https://teams.microsoft.com/l/channel/19%3a38839a39a7f941c183464066a506f20e%40thread.skype/RT%2520Orchestration%2520Platforms?groupId=d418ab20-21bd-4a58-8f4d-854076f520d8&amp;tenantId=36da45f1-dd2c-4d1f-af13-5abe46b99921" TargetMode="External"/><Relationship Id="rId2" Type="http://schemas.openxmlformats.org/officeDocument/2006/relationships/notesSlide" Target="../notesSlides/notesSlide15.xml"/><Relationship Id="rId1" Type="http://schemas.openxmlformats.org/officeDocument/2006/relationships/slideLayout" Target="../slideLayouts/slideLayout14.xml"/><Relationship Id="rId4" Type="http://schemas.openxmlformats.org/officeDocument/2006/relationships/hyperlink" Target="https://teams.microsoft.com/l/file/1C1575FC-420B-4EF9-AFBB-E85A94505FAF?tenantId=36da45f1-dd2c-4d1f-af13-5abe46b99921&amp;fileType=pdf&amp;objectUrl=https%3A%2F%2Fresources.deloitte.com%2Fsites%2FSalesforceMarketingCloudSFMC%2FShared%20Documents%2FInteraction%20Studio%2FEvergage%2FImplementation%20Guide%2F020321_Interaction%20Studio_%20Implementation%20Training%20Guide%20-%20Partners.pdf&amp;baseUrl=https%3A%2F%2Fresources.deloitte.com%2Fsites%2FSalesforceMarketingCloudSFMC&amp;serviceName=teams&amp;threadId=19:38839a39a7f941c183464066a506f20e@thread.skype&amp;groupId=d418ab20-21bd-4a58-8f4d-854076f520d8"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comments" Target="../comments/comment1.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5.png"/><Relationship Id="rId5" Type="http://schemas.openxmlformats.org/officeDocument/2006/relationships/image" Target="../media/image7.png"/><Relationship Id="rId4" Type="http://schemas.openxmlformats.org/officeDocument/2006/relationships/image" Target="../media/image8.png"/><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hyperlink" Target="https://doc.evergage.com/display/EKB/Web+Use+Case+Library"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https://quip.com/CFPaARScXNaR/Implementation-Discovery-Guide" TargetMode="External"/><Relationship Id="rId3" Type="http://schemas.openxmlformats.org/officeDocument/2006/relationships/notesSlide" Target="../notesSlides/notesSlide6.xml"/><Relationship Id="rId7" Type="http://schemas.openxmlformats.org/officeDocument/2006/relationships/hyperlink" Target="https://share.vidyard.com/watch/bxSAj6ekGQaVsNAvMRWUJS" TargetMode="External"/><Relationship Id="rId2" Type="http://schemas.openxmlformats.org/officeDocument/2006/relationships/slideLayout" Target="../slideLayouts/slideLayout12.xml"/><Relationship Id="rId1" Type="http://schemas.openxmlformats.org/officeDocument/2006/relationships/vmlDrawing" Target="../drawings/vmlDrawing2.vml"/><Relationship Id="rId6" Type="http://schemas.openxmlformats.org/officeDocument/2006/relationships/image" Target="../media/image11.wmf"/><Relationship Id="rId5" Type="http://schemas.openxmlformats.org/officeDocument/2006/relationships/oleObject" Target="../embeddings/oleObject2.bin"/><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slideLayout" Target="../slideLayouts/slideLayout1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image" Target="../media/image4.png"/><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hyperlink" Target="https://quip.com/jPHPAuwmnKGa/Interaction-Studio-Web-SDK-Beacon-Deployment-Options" TargetMode="External"/><Relationship Id="rId13" Type="http://schemas.openxmlformats.org/officeDocument/2006/relationships/hyperlink" Target="https://developer.evergage.com/web-integration/sitemap/examples" TargetMode="External"/><Relationship Id="rId18" Type="http://schemas.openxmlformats.org/officeDocument/2006/relationships/hyperlink" Target="https://share.vidyard.com/watch/zg6fbduR1KByFuivQTMoeA" TargetMode="External"/><Relationship Id="rId26" Type="http://schemas.openxmlformats.org/officeDocument/2006/relationships/hyperlink" Target="https://share.vidyard.com/watch/T5X626STyuaeVbUiRzAXnF" TargetMode="External"/><Relationship Id="rId3" Type="http://schemas.openxmlformats.org/officeDocument/2006/relationships/image" Target="../media/image4.png"/><Relationship Id="rId21" Type="http://schemas.openxmlformats.org/officeDocument/2006/relationships/hyperlink" Target="https://share.vidyard.com/watch/Tjj6MzjXMweiFXCvJcyyg3" TargetMode="External"/><Relationship Id="rId34" Type="http://schemas.openxmlformats.org/officeDocument/2006/relationships/hyperlink" Target="https://doc.evergage.com/display/EKB/Create+an+Open-Time+Email+Campaign" TargetMode="External"/><Relationship Id="rId7" Type="http://schemas.openxmlformats.org/officeDocument/2006/relationships/hyperlink" Target="https://share.vidyard.com/watch/tCuW4tRaTvjM4xkuXiRVdr" TargetMode="External"/><Relationship Id="rId12" Type="http://schemas.openxmlformats.org/officeDocument/2006/relationships/hyperlink" Target="https://quip.com/4DJwAxzuDKbR/Sitemap-QA-Checklist-and-Best-Practices" TargetMode="External"/><Relationship Id="rId17" Type="http://schemas.openxmlformats.org/officeDocument/2006/relationships/hyperlink" Target="https://share.vidyard.com/watch/T3M8oLRXNkuti57JZwu4J3" TargetMode="External"/><Relationship Id="rId25" Type="http://schemas.openxmlformats.org/officeDocument/2006/relationships/hyperlink" Target="https://share.vidyard.com/watch/XDv2sDR4ANP6JaD1gSifRx" TargetMode="External"/><Relationship Id="rId33" Type="http://schemas.openxmlformats.org/officeDocument/2006/relationships/hyperlink" Target="https://share.vidyard.com/watch/5qB8tBrcisXJ1ZpuoD5GWZ" TargetMode="External"/><Relationship Id="rId2" Type="http://schemas.openxmlformats.org/officeDocument/2006/relationships/notesSlide" Target="../notesSlides/notesSlide9.xml"/><Relationship Id="rId16" Type="http://schemas.openxmlformats.org/officeDocument/2006/relationships/hyperlink" Target="https://share.vidyard.com/watch/YGhsnAekiW2XDtAfFSqMZh" TargetMode="External"/><Relationship Id="rId20" Type="http://schemas.openxmlformats.org/officeDocument/2006/relationships/hyperlink" Target="https://doc.evergage.com/display/EKB/Understand+Salesforce+and+Interaction+Studio+Integrations" TargetMode="External"/><Relationship Id="rId29" Type="http://schemas.openxmlformats.org/officeDocument/2006/relationships/hyperlink" Target="https://share.vidyard.com/watch/KhVXhbKNeD22cYUd3AM7xK" TargetMode="External"/><Relationship Id="rId1" Type="http://schemas.openxmlformats.org/officeDocument/2006/relationships/slideLayout" Target="../slideLayouts/slideLayout12.xml"/><Relationship Id="rId6" Type="http://schemas.openxmlformats.org/officeDocument/2006/relationships/hyperlink" Target="https://doc.evergage.com/display/EKB/Add%2C+Edit%2C+and+Delete+Users+and+Roles" TargetMode="External"/><Relationship Id="rId11" Type="http://schemas.openxmlformats.org/officeDocument/2006/relationships/hyperlink" Target="https://quip.com/IblfAoIPCURi/TEMPLATE-Site-Mapping-Blueprint-eCommerce-Example" TargetMode="External"/><Relationship Id="rId24" Type="http://schemas.openxmlformats.org/officeDocument/2006/relationships/hyperlink" Target="https://share.vidyard.com/watch/peptFD4jZaP4F4MujKyS4P" TargetMode="External"/><Relationship Id="rId32" Type="http://schemas.openxmlformats.org/officeDocument/2006/relationships/hyperlink" Target="https://developer.evergage.com/campaign-development/web-templates" TargetMode="External"/><Relationship Id="rId5" Type="http://schemas.openxmlformats.org/officeDocument/2006/relationships/hyperlink" Target="https://doc.evergage.com/display/EKB/Manage+Users" TargetMode="External"/><Relationship Id="rId15" Type="http://schemas.openxmlformats.org/officeDocument/2006/relationships/hyperlink" Target="https://doc.evergage.com/display/EKB/Identity+Management" TargetMode="External"/><Relationship Id="rId23" Type="http://schemas.openxmlformats.org/officeDocument/2006/relationships/hyperlink" Target="https://doc.evergage.com/display/EKB/Promotions" TargetMode="External"/><Relationship Id="rId28" Type="http://schemas.openxmlformats.org/officeDocument/2006/relationships/hyperlink" Target="https://doc.evergage.com/display/EKB/Einstein+Recipes" TargetMode="External"/><Relationship Id="rId10" Type="http://schemas.openxmlformats.org/officeDocument/2006/relationships/hyperlink" Target="https://share.vidyard.com/watch/12hM7chXdumN6BRkkK13bx" TargetMode="External"/><Relationship Id="rId19" Type="http://schemas.openxmlformats.org/officeDocument/2006/relationships/hyperlink" Target="https://doc.evergage.com/display/EKB/Send+a+User+to+Journey+Builder+Upon+Segment+Join" TargetMode="External"/><Relationship Id="rId31" Type="http://schemas.openxmlformats.org/officeDocument/2006/relationships/hyperlink" Target="https://quip.com/AVYVA9wCxblH" TargetMode="External"/><Relationship Id="rId4" Type="http://schemas.openxmlformats.org/officeDocument/2006/relationships/hyperlink" Target="https://share.vidyard.com/watch/rX1zKHzyWDwrX35PMGHVrH" TargetMode="External"/><Relationship Id="rId9" Type="http://schemas.openxmlformats.org/officeDocument/2006/relationships/hyperlink" Target="https://share.vidyard.com/watch/3FLuYbbWLmMnYAC86Vufbv" TargetMode="External"/><Relationship Id="rId14" Type="http://schemas.openxmlformats.org/officeDocument/2006/relationships/hyperlink" Target="https://share.vidyard.com/watch/ZdoxYdbFe7mTy3d4K5qF28" TargetMode="External"/><Relationship Id="rId22" Type="http://schemas.openxmlformats.org/officeDocument/2006/relationships/hyperlink" Target="https://share.vidyard.com/watch/t5VivKndxQJsBTzngVaCEZ" TargetMode="External"/><Relationship Id="rId27" Type="http://schemas.openxmlformats.org/officeDocument/2006/relationships/hyperlink" Target="https://share.vidyard.com/watch/1g3uFSeuY8V5F3EwM3n2q1" TargetMode="External"/><Relationship Id="rId30" Type="http://schemas.openxmlformats.org/officeDocument/2006/relationships/hyperlink" Target="https://share.vidyard.com/watch/9FmynA42bUgnZ5iUoC2ked"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9D5C5EF4-9CCA-4665-825B-F674776CB05F}"/>
              </a:ext>
            </a:extLst>
          </p:cNvPr>
          <p:cNvPicPr>
            <a:picLocks noGrp="1" noChangeAspect="1"/>
          </p:cNvPicPr>
          <p:nvPr>
            <p:ph type="pic" sz="quarter" idx="11"/>
          </p:nvPr>
        </p:nvPicPr>
        <p:blipFill>
          <a:blip r:embed="rId3"/>
          <a:srcRect l="12493" r="12493"/>
          <a:stretch>
            <a:fillRect/>
          </a:stretch>
        </p:blipFill>
        <p:spPr/>
      </p:pic>
      <p:sp>
        <p:nvSpPr>
          <p:cNvPr id="2" name="Title 1">
            <a:extLst>
              <a:ext uri="{FF2B5EF4-FFF2-40B4-BE49-F238E27FC236}">
                <a16:creationId xmlns:a16="http://schemas.microsoft.com/office/drawing/2014/main" id="{1A53A8AD-38C0-4854-81B3-9B99B4E007ED}"/>
              </a:ext>
            </a:extLst>
          </p:cNvPr>
          <p:cNvSpPr>
            <a:spLocks noGrp="1"/>
          </p:cNvSpPr>
          <p:nvPr>
            <p:ph type="ctrTitle"/>
          </p:nvPr>
        </p:nvSpPr>
        <p:spPr>
          <a:xfrm>
            <a:off x="409575" y="5186209"/>
            <a:ext cx="5095411" cy="895983"/>
          </a:xfrm>
        </p:spPr>
        <p:txBody>
          <a:bodyPr/>
          <a:lstStyle/>
          <a:p>
            <a:r>
              <a:rPr lang="en-US" dirty="0"/>
              <a:t>Interaction Studio 2.0 Starter’s Kit</a:t>
            </a:r>
          </a:p>
        </p:txBody>
      </p:sp>
      <p:sp>
        <p:nvSpPr>
          <p:cNvPr id="5" name="Text Placeholder 4"/>
          <p:cNvSpPr>
            <a:spLocks noGrp="1"/>
          </p:cNvSpPr>
          <p:nvPr>
            <p:ph type="body" sz="quarter" idx="10"/>
          </p:nvPr>
        </p:nvSpPr>
        <p:spPr/>
        <p:txBody>
          <a:bodyPr/>
          <a:lstStyle/>
          <a:p>
            <a:r>
              <a:rPr lang="en-US" dirty="0">
                <a:latin typeface="+mn-lt"/>
              </a:rPr>
              <a:t>Copyright @ 2020 Deloitte Development LLC. All rights Reserved.</a:t>
            </a:r>
          </a:p>
        </p:txBody>
      </p:sp>
      <p:pic>
        <p:nvPicPr>
          <p:cNvPr id="6" name="Picture 5">
            <a:extLst>
              <a:ext uri="{FF2B5EF4-FFF2-40B4-BE49-F238E27FC236}">
                <a16:creationId xmlns:a16="http://schemas.microsoft.com/office/drawing/2014/main" id="{76C09E8A-0AD2-4CD8-B467-84AE02FBE73E}"/>
              </a:ext>
            </a:extLst>
          </p:cNvPr>
          <p:cNvPicPr>
            <a:picLocks noChangeAspect="1"/>
          </p:cNvPicPr>
          <p:nvPr/>
        </p:nvPicPr>
        <p:blipFill>
          <a:blip r:embed="rId4"/>
          <a:stretch>
            <a:fillRect/>
          </a:stretch>
        </p:blipFill>
        <p:spPr>
          <a:xfrm>
            <a:off x="8674608" y="5961888"/>
            <a:ext cx="1652778" cy="684978"/>
          </a:xfrm>
          <a:prstGeom prst="rect">
            <a:avLst/>
          </a:prstGeom>
        </p:spPr>
      </p:pic>
    </p:spTree>
    <p:extLst>
      <p:ext uri="{BB962C8B-B14F-4D97-AF65-F5344CB8AC3E}">
        <p14:creationId xmlns:p14="http://schemas.microsoft.com/office/powerpoint/2010/main" val="148522317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0">
            <a:extLst>
              <a:ext uri="{FF2B5EF4-FFF2-40B4-BE49-F238E27FC236}">
                <a16:creationId xmlns:a16="http://schemas.microsoft.com/office/drawing/2014/main" id="{54F0E06A-7E06-4475-B31E-2EC43034958C}"/>
              </a:ext>
            </a:extLst>
          </p:cNvPr>
          <p:cNvSpPr txBox="1">
            <a:spLocks/>
          </p:cNvSpPr>
          <p:nvPr/>
        </p:nvSpPr>
        <p:spPr>
          <a:xfrm>
            <a:off x="-1" y="165101"/>
            <a:ext cx="12191999" cy="409330"/>
          </a:xfrm>
          <a:prstGeom prst="rect">
            <a:avLst/>
          </a:prstGeom>
          <a:solidFill>
            <a:schemeClr val="tx1"/>
          </a:solidFill>
        </p:spPr>
        <p:txBody>
          <a:bodyPr vert="horz" lIns="0" tIns="45720" rIns="0" bIns="0" rtlCol="0" anchor="b" anchorCtr="0">
            <a:noAutofit/>
          </a:bodyPr>
          <a:lstStyle>
            <a:lvl1pPr algn="l" defTabSz="914400" rtl="0" eaLnBrk="1" latinLnBrk="0" hangingPunct="1">
              <a:lnSpc>
                <a:spcPct val="90000"/>
              </a:lnSpc>
              <a:spcBef>
                <a:spcPct val="0"/>
              </a:spcBef>
              <a:buNone/>
              <a:defRPr lang="en-US" sz="3600" b="0" kern="1200" spc="-75" dirty="0">
                <a:solidFill>
                  <a:schemeClr val="tx1"/>
                </a:solidFill>
                <a:latin typeface="+mj-lt"/>
                <a:ea typeface="+mj-ea"/>
                <a:cs typeface="+mj-cs"/>
              </a:defRPr>
            </a:lvl1pPr>
          </a:lstStyle>
          <a:p>
            <a:pPr algn="ctr"/>
            <a:r>
              <a:rPr lang="en-US" sz="2800" b="1" dirty="0">
                <a:solidFill>
                  <a:schemeClr val="bg1"/>
                </a:solidFill>
              </a:rPr>
              <a:t>Key Learnings – Discovery &amp; Implementation Level</a:t>
            </a:r>
          </a:p>
        </p:txBody>
      </p:sp>
      <p:pic>
        <p:nvPicPr>
          <p:cNvPr id="28" name="Picture 27">
            <a:extLst>
              <a:ext uri="{FF2B5EF4-FFF2-40B4-BE49-F238E27FC236}">
                <a16:creationId xmlns:a16="http://schemas.microsoft.com/office/drawing/2014/main" id="{A407B2AF-0953-4E9A-9E22-D7A08F8B0195}"/>
              </a:ext>
            </a:extLst>
          </p:cNvPr>
          <p:cNvPicPr>
            <a:picLocks noChangeAspect="1"/>
          </p:cNvPicPr>
          <p:nvPr/>
        </p:nvPicPr>
        <p:blipFill>
          <a:blip r:embed="rId3"/>
          <a:stretch>
            <a:fillRect/>
          </a:stretch>
        </p:blipFill>
        <p:spPr>
          <a:xfrm>
            <a:off x="337678" y="6426731"/>
            <a:ext cx="3133725" cy="238125"/>
          </a:xfrm>
          <a:prstGeom prst="rect">
            <a:avLst/>
          </a:prstGeom>
        </p:spPr>
      </p:pic>
      <p:sp>
        <p:nvSpPr>
          <p:cNvPr id="4" name="TextBox 3">
            <a:extLst>
              <a:ext uri="{FF2B5EF4-FFF2-40B4-BE49-F238E27FC236}">
                <a16:creationId xmlns:a16="http://schemas.microsoft.com/office/drawing/2014/main" id="{C674C4F7-46D7-422C-BAB3-3FD0AF7DA434}"/>
              </a:ext>
            </a:extLst>
          </p:cNvPr>
          <p:cNvSpPr txBox="1"/>
          <p:nvPr/>
        </p:nvSpPr>
        <p:spPr>
          <a:xfrm>
            <a:off x="337678" y="833905"/>
            <a:ext cx="7748084" cy="3539430"/>
          </a:xfrm>
          <a:prstGeom prst="rect">
            <a:avLst/>
          </a:prstGeom>
          <a:noFill/>
        </p:spPr>
        <p:txBody>
          <a:bodyPr wrap="square" rtlCol="0">
            <a:spAutoFit/>
          </a:bodyPr>
          <a:lstStyle/>
          <a:p>
            <a:endParaRPr lang="en-US" sz="1400" b="1" dirty="0"/>
          </a:p>
          <a:p>
            <a:pPr marL="285750" indent="-285750">
              <a:buFont typeface="Arial" panose="020B0604020202020204" pitchFamily="34" charset="0"/>
              <a:buChar char="•"/>
            </a:pPr>
            <a:r>
              <a:rPr lang="en-US" sz="1400" dirty="0"/>
              <a:t>Focus on setting up the foundations of the platform across all potential channels so that use case activation can be quick .</a:t>
            </a:r>
          </a:p>
          <a:p>
            <a:pPr marL="285750" indent="-285750">
              <a:buFont typeface="Arial" panose="020B0604020202020204" pitchFamily="34" charset="0"/>
              <a:buChar char="•"/>
            </a:pPr>
            <a:r>
              <a:rPr lang="en-US" sz="1400" dirty="0"/>
              <a:t>Sandboxes often doesn’t emulate a productionized platform. Salesforce Support can help in setting it up.</a:t>
            </a:r>
          </a:p>
          <a:p>
            <a:pPr marL="285750" indent="-285750">
              <a:buFont typeface="Arial" panose="020B0604020202020204" pitchFamily="34" charset="0"/>
              <a:buChar char="•"/>
            </a:pPr>
            <a:r>
              <a:rPr lang="en-US" sz="1400" dirty="0"/>
              <a:t>Create User groups before hand to segregate user permission amongst admin, platform builder and campaign developers.</a:t>
            </a:r>
          </a:p>
          <a:p>
            <a:pPr marL="285750" indent="-285750">
              <a:buFont typeface="Arial" panose="020B0604020202020204" pitchFamily="34" charset="0"/>
              <a:buChar char="•"/>
            </a:pPr>
            <a:r>
              <a:rPr lang="en-US" sz="1400" dirty="0"/>
              <a:t>Interaction Studio is not supported on IE11 and below with its existing sitemap build capabilities.</a:t>
            </a:r>
          </a:p>
          <a:p>
            <a:endParaRPr lang="en-US" sz="1400" dirty="0"/>
          </a:p>
          <a:p>
            <a:pPr marL="285750" indent="-285750">
              <a:buFont typeface="Arial" panose="020B0604020202020204" pitchFamily="34" charset="0"/>
              <a:buChar char="•"/>
            </a:pPr>
            <a:r>
              <a:rPr lang="en-US" sz="1400" dirty="0"/>
              <a:t>Site mapping can be done in broad strokes; aligning on page types and events does not have to get super specific and can be setup to support future potential use cases</a:t>
            </a:r>
          </a:p>
          <a:p>
            <a:pPr marL="285750" indent="-285750">
              <a:buFont typeface="Arial" panose="020B0604020202020204" pitchFamily="34" charset="0"/>
              <a:buChar char="•"/>
            </a:pPr>
            <a:r>
              <a:rPr lang="en-US" sz="1400" dirty="0"/>
              <a:t>Interaction Studio beacon has to be added on the website. It is available in two forms :</a:t>
            </a:r>
          </a:p>
          <a:p>
            <a:pPr marL="742950" lvl="1" indent="-285750">
              <a:buFont typeface="Arial" panose="020B0604020202020204" pitchFamily="34" charset="0"/>
              <a:buChar char="•"/>
            </a:pPr>
            <a:r>
              <a:rPr lang="en-US" sz="1400" dirty="0"/>
              <a:t>Synchronous – Recommended by Salesforce. Zero-Flicker on content swap &amp; Recommendation.  CON – Makes the page to wait for the content to come up.</a:t>
            </a:r>
          </a:p>
          <a:p>
            <a:pPr marL="742950" lvl="1" indent="-285750">
              <a:buFont typeface="Arial" panose="020B0604020202020204" pitchFamily="34" charset="0"/>
              <a:buChar char="•"/>
            </a:pPr>
            <a:r>
              <a:rPr lang="en-US" sz="1400" dirty="0"/>
              <a:t>Asynchronous – Loads independently on the page. Flickers on content swap. Not recommended by Salesforce.</a:t>
            </a:r>
          </a:p>
        </p:txBody>
      </p:sp>
    </p:spTree>
    <p:extLst>
      <p:ext uri="{BB962C8B-B14F-4D97-AF65-F5344CB8AC3E}">
        <p14:creationId xmlns:p14="http://schemas.microsoft.com/office/powerpoint/2010/main" val="12728078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0">
            <a:extLst>
              <a:ext uri="{FF2B5EF4-FFF2-40B4-BE49-F238E27FC236}">
                <a16:creationId xmlns:a16="http://schemas.microsoft.com/office/drawing/2014/main" id="{54F0E06A-7E06-4475-B31E-2EC43034958C}"/>
              </a:ext>
            </a:extLst>
          </p:cNvPr>
          <p:cNvSpPr txBox="1">
            <a:spLocks/>
          </p:cNvSpPr>
          <p:nvPr/>
        </p:nvSpPr>
        <p:spPr>
          <a:xfrm>
            <a:off x="-1" y="165101"/>
            <a:ext cx="12191999" cy="409330"/>
          </a:xfrm>
          <a:prstGeom prst="rect">
            <a:avLst/>
          </a:prstGeom>
          <a:solidFill>
            <a:schemeClr val="tx1"/>
          </a:solidFill>
        </p:spPr>
        <p:txBody>
          <a:bodyPr vert="horz" lIns="0" tIns="45720" rIns="0" bIns="0" rtlCol="0" anchor="b" anchorCtr="0">
            <a:noAutofit/>
          </a:bodyPr>
          <a:lstStyle>
            <a:lvl1pPr algn="l" defTabSz="914400" rtl="0" eaLnBrk="1" latinLnBrk="0" hangingPunct="1">
              <a:lnSpc>
                <a:spcPct val="90000"/>
              </a:lnSpc>
              <a:spcBef>
                <a:spcPct val="0"/>
              </a:spcBef>
              <a:buNone/>
              <a:defRPr lang="en-US" sz="3600" b="0" kern="1200" spc="-75" dirty="0">
                <a:solidFill>
                  <a:schemeClr val="tx1"/>
                </a:solidFill>
                <a:latin typeface="+mj-lt"/>
                <a:ea typeface="+mj-ea"/>
                <a:cs typeface="+mj-cs"/>
              </a:defRPr>
            </a:lvl1pPr>
          </a:lstStyle>
          <a:p>
            <a:pPr algn="ctr"/>
            <a:r>
              <a:rPr lang="en-US" sz="2800" b="1" dirty="0">
                <a:solidFill>
                  <a:schemeClr val="bg1"/>
                </a:solidFill>
              </a:rPr>
              <a:t>Key Learnings – Feature level</a:t>
            </a:r>
          </a:p>
        </p:txBody>
      </p:sp>
      <p:pic>
        <p:nvPicPr>
          <p:cNvPr id="28" name="Picture 27">
            <a:extLst>
              <a:ext uri="{FF2B5EF4-FFF2-40B4-BE49-F238E27FC236}">
                <a16:creationId xmlns:a16="http://schemas.microsoft.com/office/drawing/2014/main" id="{A407B2AF-0953-4E9A-9E22-D7A08F8B0195}"/>
              </a:ext>
            </a:extLst>
          </p:cNvPr>
          <p:cNvPicPr>
            <a:picLocks noChangeAspect="1"/>
          </p:cNvPicPr>
          <p:nvPr/>
        </p:nvPicPr>
        <p:blipFill>
          <a:blip r:embed="rId3"/>
          <a:stretch>
            <a:fillRect/>
          </a:stretch>
        </p:blipFill>
        <p:spPr>
          <a:xfrm>
            <a:off x="337678" y="6426731"/>
            <a:ext cx="3133725" cy="238125"/>
          </a:xfrm>
          <a:prstGeom prst="rect">
            <a:avLst/>
          </a:prstGeom>
        </p:spPr>
      </p:pic>
      <p:sp>
        <p:nvSpPr>
          <p:cNvPr id="2" name="TextBox 1">
            <a:extLst>
              <a:ext uri="{FF2B5EF4-FFF2-40B4-BE49-F238E27FC236}">
                <a16:creationId xmlns:a16="http://schemas.microsoft.com/office/drawing/2014/main" id="{6642BF11-DA85-4912-A921-FCA98FBD5178}"/>
              </a:ext>
            </a:extLst>
          </p:cNvPr>
          <p:cNvSpPr txBox="1"/>
          <p:nvPr/>
        </p:nvSpPr>
        <p:spPr>
          <a:xfrm>
            <a:off x="462337" y="811658"/>
            <a:ext cx="7756989" cy="2492990"/>
          </a:xfrm>
          <a:prstGeom prst="rect">
            <a:avLst/>
          </a:prstGeom>
          <a:noFill/>
        </p:spPr>
        <p:txBody>
          <a:bodyPr wrap="square" rtlCol="0">
            <a:spAutoFit/>
          </a:bodyPr>
          <a:lstStyle/>
          <a:p>
            <a:pPr marL="342900" indent="-342900">
              <a:buAutoNum type="arabicPeriod"/>
            </a:pPr>
            <a:r>
              <a:rPr lang="en-US" dirty="0"/>
              <a:t>Platform setup.</a:t>
            </a:r>
          </a:p>
          <a:p>
            <a:pPr marL="628650" lvl="1" indent="-171450">
              <a:buFont typeface="Arial" panose="020B0604020202020204" pitchFamily="34" charset="0"/>
              <a:buChar char="•"/>
            </a:pPr>
            <a:r>
              <a:rPr lang="en-US" sz="1200" dirty="0"/>
              <a:t>Setting up dimensions and attributes (planning the catalog structure) prior to doing the sitemap. Evergage defined attributes are identifiers unique to a product (Catalog object). However, dimensions are aggregated and can be considered as Tags.</a:t>
            </a:r>
          </a:p>
          <a:p>
            <a:pPr marL="628650" lvl="1" indent="-171450">
              <a:buFont typeface="Arial" panose="020B0604020202020204" pitchFamily="34" charset="0"/>
              <a:buChar char="•"/>
            </a:pPr>
            <a:r>
              <a:rPr lang="en-US" sz="1200" dirty="0"/>
              <a:t>Datasets doesn’t have version control feature for sitemap.</a:t>
            </a:r>
          </a:p>
          <a:p>
            <a:pPr marL="628650" lvl="1" indent="-171450">
              <a:buFont typeface="Arial" panose="020B0604020202020204" pitchFamily="34" charset="0"/>
              <a:buChar char="•"/>
            </a:pPr>
            <a:r>
              <a:rPr lang="en-US" sz="1200" dirty="0"/>
              <a:t>Guardian feature for Reporting on event stream in not enabled by default.</a:t>
            </a:r>
          </a:p>
          <a:p>
            <a:pPr marL="628650" lvl="1" indent="-171450">
              <a:buFont typeface="Arial" panose="020B0604020202020204" pitchFamily="34" charset="0"/>
              <a:buChar char="•"/>
            </a:pPr>
            <a:r>
              <a:rPr lang="en-US" sz="1200" dirty="0"/>
              <a:t>Cannot do mass data deletion from within the UI.</a:t>
            </a:r>
          </a:p>
          <a:p>
            <a:pPr marL="628650" lvl="1" indent="-171450">
              <a:buFont typeface="Arial" panose="020B0604020202020204" pitchFamily="34" charset="0"/>
              <a:buChar char="•"/>
            </a:pPr>
            <a:r>
              <a:rPr lang="en-US" sz="1200" dirty="0"/>
              <a:t>Max number of user attributes per dataset is 100.</a:t>
            </a:r>
          </a:p>
          <a:p>
            <a:pPr marL="628650" lvl="1" indent="-171450">
              <a:buFont typeface="Arial" panose="020B0604020202020204" pitchFamily="34" charset="0"/>
              <a:buChar char="•"/>
            </a:pPr>
            <a:r>
              <a:rPr lang="en-US" sz="1200" dirty="0"/>
              <a:t>Max number of dimensions are 20 per item type.</a:t>
            </a:r>
          </a:p>
          <a:p>
            <a:pPr marL="628650" lvl="1" indent="-171450">
              <a:buFont typeface="Arial" panose="020B0604020202020204" pitchFamily="34" charset="0"/>
              <a:buChar char="•"/>
            </a:pPr>
            <a:endParaRPr lang="en-US" sz="1200" dirty="0"/>
          </a:p>
          <a:p>
            <a:pPr marL="628650" lvl="1" indent="-171450">
              <a:buFont typeface="Arial" panose="020B0604020202020204" pitchFamily="34" charset="0"/>
              <a:buChar char="•"/>
            </a:pPr>
            <a:endParaRPr lang="en-US" sz="1200" dirty="0"/>
          </a:p>
          <a:p>
            <a:pPr marL="800100" lvl="1" indent="-342900">
              <a:buFont typeface="Arial" panose="020B0604020202020204" pitchFamily="34" charset="0"/>
              <a:buChar char="•"/>
            </a:pPr>
            <a:endParaRPr lang="en-US" dirty="0"/>
          </a:p>
        </p:txBody>
      </p:sp>
      <p:sp>
        <p:nvSpPr>
          <p:cNvPr id="3" name="TextBox 2">
            <a:extLst>
              <a:ext uri="{FF2B5EF4-FFF2-40B4-BE49-F238E27FC236}">
                <a16:creationId xmlns:a16="http://schemas.microsoft.com/office/drawing/2014/main" id="{5E5E4480-7E30-47DB-9E9C-FF1BDE801B80}"/>
              </a:ext>
            </a:extLst>
          </p:cNvPr>
          <p:cNvSpPr txBox="1"/>
          <p:nvPr/>
        </p:nvSpPr>
        <p:spPr>
          <a:xfrm>
            <a:off x="493160" y="3082247"/>
            <a:ext cx="9756197" cy="923330"/>
          </a:xfrm>
          <a:prstGeom prst="rect">
            <a:avLst/>
          </a:prstGeom>
          <a:noFill/>
        </p:spPr>
        <p:txBody>
          <a:bodyPr wrap="none" rtlCol="0">
            <a:spAutoFit/>
          </a:bodyPr>
          <a:lstStyle/>
          <a:p>
            <a:r>
              <a:rPr lang="en-US" dirty="0"/>
              <a:t>2. Sitemap</a:t>
            </a:r>
          </a:p>
          <a:p>
            <a:pPr marL="742950" lvl="1" indent="-285750">
              <a:buFont typeface="Arial" panose="020B0604020202020204" pitchFamily="34" charset="0"/>
              <a:buChar char="•"/>
            </a:pPr>
            <a:r>
              <a:rPr lang="en-US" sz="1200" dirty="0"/>
              <a:t>By default, it refreshes on a page load. To handle the SPA behavior, we have to include SPA handler script in it.</a:t>
            </a:r>
          </a:p>
          <a:p>
            <a:pPr marL="742950" lvl="1" indent="-285750">
              <a:buFont typeface="Arial" panose="020B0604020202020204" pitchFamily="34" charset="0"/>
              <a:buChar char="•"/>
            </a:pPr>
            <a:r>
              <a:rPr lang="en-US" sz="1200" dirty="0"/>
              <a:t>Using sitemap approach for building Catalog, Products that are not viewed on the site do not show up in Catalog UI but are available in system.</a:t>
            </a:r>
          </a:p>
          <a:p>
            <a:pPr marL="742950" lvl="1" indent="-285750">
              <a:buFont typeface="Arial" panose="020B0604020202020204" pitchFamily="34" charset="0"/>
              <a:buChar char="•"/>
            </a:pPr>
            <a:r>
              <a:rPr lang="en-US" sz="1200" dirty="0"/>
              <a:t>Dimensions can't be added to a Catalog Category object.</a:t>
            </a:r>
          </a:p>
        </p:txBody>
      </p:sp>
      <p:sp>
        <p:nvSpPr>
          <p:cNvPr id="4" name="TextBox 3">
            <a:extLst>
              <a:ext uri="{FF2B5EF4-FFF2-40B4-BE49-F238E27FC236}">
                <a16:creationId xmlns:a16="http://schemas.microsoft.com/office/drawing/2014/main" id="{27FF693A-2202-4E1E-9358-81F5F4371CE8}"/>
              </a:ext>
            </a:extLst>
          </p:cNvPr>
          <p:cNvSpPr txBox="1"/>
          <p:nvPr/>
        </p:nvSpPr>
        <p:spPr>
          <a:xfrm>
            <a:off x="688369" y="4602822"/>
            <a:ext cx="7444859" cy="1200329"/>
          </a:xfrm>
          <a:prstGeom prst="rect">
            <a:avLst/>
          </a:prstGeom>
          <a:noFill/>
        </p:spPr>
        <p:txBody>
          <a:bodyPr wrap="none" rtlCol="0">
            <a:spAutoFit/>
          </a:bodyPr>
          <a:lstStyle/>
          <a:p>
            <a:r>
              <a:rPr lang="en-US" dirty="0"/>
              <a:t>3. Web Template &amp; Campaigns</a:t>
            </a:r>
          </a:p>
          <a:p>
            <a:pPr marL="742950" lvl="1" indent="-285750">
              <a:buFont typeface="Arial" panose="020B0604020202020204" pitchFamily="34" charset="0"/>
              <a:buChar char="•"/>
            </a:pPr>
            <a:r>
              <a:rPr lang="en-US" sz="1200" dirty="0"/>
              <a:t>Using Global web template, we can either replace, append or prepend a content on the desired channel.</a:t>
            </a:r>
          </a:p>
          <a:p>
            <a:pPr marL="742950" lvl="1" indent="-285750">
              <a:buFont typeface="Arial" panose="020B0604020202020204" pitchFamily="34" charset="0"/>
              <a:buChar char="•"/>
            </a:pPr>
            <a:r>
              <a:rPr lang="en-US" sz="1200" dirty="0"/>
              <a:t> Campaign tracking attributes are not added by default on to the templates.</a:t>
            </a:r>
          </a:p>
          <a:p>
            <a:pPr marL="742950" lvl="1" indent="-285750">
              <a:buFont typeface="Arial" panose="020B0604020202020204" pitchFamily="34" charset="0"/>
              <a:buChar char="•"/>
            </a:pPr>
            <a:r>
              <a:rPr lang="en-US" sz="1200" dirty="0"/>
              <a:t>Web template works properly only with uniquely identified content Zone selectors.</a:t>
            </a:r>
          </a:p>
          <a:p>
            <a:pPr marL="742950" lvl="1" indent="-285750">
              <a:buFont typeface="Arial" panose="020B0604020202020204" pitchFamily="34" charset="0"/>
              <a:buChar char="•"/>
            </a:pPr>
            <a:endParaRPr lang="en-US" dirty="0"/>
          </a:p>
        </p:txBody>
      </p:sp>
    </p:spTree>
    <p:extLst>
      <p:ext uri="{BB962C8B-B14F-4D97-AF65-F5344CB8AC3E}">
        <p14:creationId xmlns:p14="http://schemas.microsoft.com/office/powerpoint/2010/main" val="291267303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0">
            <a:extLst>
              <a:ext uri="{FF2B5EF4-FFF2-40B4-BE49-F238E27FC236}">
                <a16:creationId xmlns:a16="http://schemas.microsoft.com/office/drawing/2014/main" id="{54F0E06A-7E06-4475-B31E-2EC43034958C}"/>
              </a:ext>
            </a:extLst>
          </p:cNvPr>
          <p:cNvSpPr txBox="1">
            <a:spLocks/>
          </p:cNvSpPr>
          <p:nvPr/>
        </p:nvSpPr>
        <p:spPr>
          <a:xfrm>
            <a:off x="-1" y="165101"/>
            <a:ext cx="12191999" cy="409330"/>
          </a:xfrm>
          <a:prstGeom prst="rect">
            <a:avLst/>
          </a:prstGeom>
          <a:solidFill>
            <a:schemeClr val="tx1"/>
          </a:solidFill>
        </p:spPr>
        <p:txBody>
          <a:bodyPr vert="horz" lIns="0" tIns="45720" rIns="0" bIns="0" rtlCol="0" anchor="b" anchorCtr="0">
            <a:noAutofit/>
          </a:bodyPr>
          <a:lstStyle>
            <a:lvl1pPr algn="l" defTabSz="914400" rtl="0" eaLnBrk="1" latinLnBrk="0" hangingPunct="1">
              <a:lnSpc>
                <a:spcPct val="90000"/>
              </a:lnSpc>
              <a:spcBef>
                <a:spcPct val="0"/>
              </a:spcBef>
              <a:buNone/>
              <a:defRPr lang="en-US" sz="3600" b="0" kern="1200" spc="-75" dirty="0">
                <a:solidFill>
                  <a:schemeClr val="tx1"/>
                </a:solidFill>
                <a:latin typeface="+mj-lt"/>
                <a:ea typeface="+mj-ea"/>
                <a:cs typeface="+mj-cs"/>
              </a:defRPr>
            </a:lvl1pPr>
          </a:lstStyle>
          <a:p>
            <a:pPr algn="ctr"/>
            <a:r>
              <a:rPr lang="en-US" sz="2800" b="1" dirty="0">
                <a:solidFill>
                  <a:schemeClr val="bg1"/>
                </a:solidFill>
              </a:rPr>
              <a:t>Key Learnings – Feature level</a:t>
            </a:r>
          </a:p>
        </p:txBody>
      </p:sp>
      <p:pic>
        <p:nvPicPr>
          <p:cNvPr id="28" name="Picture 27">
            <a:extLst>
              <a:ext uri="{FF2B5EF4-FFF2-40B4-BE49-F238E27FC236}">
                <a16:creationId xmlns:a16="http://schemas.microsoft.com/office/drawing/2014/main" id="{A407B2AF-0953-4E9A-9E22-D7A08F8B0195}"/>
              </a:ext>
            </a:extLst>
          </p:cNvPr>
          <p:cNvPicPr>
            <a:picLocks noChangeAspect="1"/>
          </p:cNvPicPr>
          <p:nvPr/>
        </p:nvPicPr>
        <p:blipFill>
          <a:blip r:embed="rId3"/>
          <a:stretch>
            <a:fillRect/>
          </a:stretch>
        </p:blipFill>
        <p:spPr>
          <a:xfrm>
            <a:off x="337678" y="6426731"/>
            <a:ext cx="3133725" cy="238125"/>
          </a:xfrm>
          <a:prstGeom prst="rect">
            <a:avLst/>
          </a:prstGeom>
        </p:spPr>
      </p:pic>
      <p:sp>
        <p:nvSpPr>
          <p:cNvPr id="2" name="TextBox 1">
            <a:extLst>
              <a:ext uri="{FF2B5EF4-FFF2-40B4-BE49-F238E27FC236}">
                <a16:creationId xmlns:a16="http://schemas.microsoft.com/office/drawing/2014/main" id="{433FD1B8-9C39-42E5-A9E4-E09B3A19ACAF}"/>
              </a:ext>
            </a:extLst>
          </p:cNvPr>
          <p:cNvSpPr txBox="1"/>
          <p:nvPr/>
        </p:nvSpPr>
        <p:spPr>
          <a:xfrm>
            <a:off x="215757" y="760288"/>
            <a:ext cx="10289210" cy="2308324"/>
          </a:xfrm>
          <a:prstGeom prst="rect">
            <a:avLst/>
          </a:prstGeom>
          <a:noFill/>
        </p:spPr>
        <p:txBody>
          <a:bodyPr wrap="square" rtlCol="0">
            <a:spAutoFit/>
          </a:bodyPr>
          <a:lstStyle/>
          <a:p>
            <a:r>
              <a:rPr lang="en-US" dirty="0"/>
              <a:t>4. ETL Setup (Cardinality)</a:t>
            </a:r>
          </a:p>
          <a:p>
            <a:pPr marL="742950" lvl="1" indent="-285750">
              <a:buFont typeface="Arial" panose="020B0604020202020204" pitchFamily="34" charset="0"/>
              <a:buChar char="•"/>
            </a:pPr>
            <a:r>
              <a:rPr lang="en-US" sz="1200" b="1" dirty="0"/>
              <a:t>Having many</a:t>
            </a:r>
            <a:r>
              <a:rPr lang="en-US" sz="1200" dirty="0"/>
              <a:t>: when a new value is loaded via ETL, the old value is replaced, while if a different value is captured via sitemap and one via ETL, both are retained</a:t>
            </a:r>
          </a:p>
          <a:p>
            <a:pPr marL="742950" lvl="1" indent="-285750">
              <a:buFont typeface="Arial" panose="020B0604020202020204" pitchFamily="34" charset="0"/>
              <a:buChar char="•"/>
            </a:pPr>
            <a:r>
              <a:rPr lang="en-US" sz="1200" b="1" dirty="0"/>
              <a:t>One Per Item </a:t>
            </a:r>
            <a:r>
              <a:rPr lang="en-US" sz="1200" dirty="0"/>
              <a:t>- select this option if there can be only one option for this dimension per item. Brand is an example of a dimension that would be One Per Item because an item can have only one brand</a:t>
            </a:r>
          </a:p>
          <a:p>
            <a:pPr marL="742950" lvl="1" indent="-285750">
              <a:buFont typeface="Arial" panose="020B0604020202020204" pitchFamily="34" charset="0"/>
              <a:buChar char="•"/>
            </a:pPr>
            <a:r>
              <a:rPr lang="en-US" sz="1200" b="1" dirty="0"/>
              <a:t>Many Per Item </a:t>
            </a:r>
            <a:r>
              <a:rPr lang="en-US" sz="1200" dirty="0"/>
              <a:t>- select this less common option if this dimension can have many different values. Keyword is an example of a dimension that would be Many Per Item because items like products or articles could have multiple keywords. Dimensions with Many Per Item cardinality append new values when they are captured via the sitemap or sent in an ETL, rather than replace existing values.</a:t>
            </a:r>
          </a:p>
          <a:p>
            <a:pPr marL="742950" lvl="1" indent="-285750">
              <a:buFont typeface="Arial" panose="020B0604020202020204" pitchFamily="34" charset="0"/>
              <a:buChar char="•"/>
            </a:pPr>
            <a:r>
              <a:rPr lang="en-US" sz="1200" b="1" dirty="0"/>
              <a:t>One Per SKU </a:t>
            </a:r>
            <a:r>
              <a:rPr lang="en-US" sz="1200" dirty="0"/>
              <a:t>- select this option if this dimension has different values, but only one that would apply to a particular item SKU. For example, a sneaker could have multiple colors, but each SKU of that sneaker would have only one color</a:t>
            </a:r>
          </a:p>
          <a:p>
            <a:pPr marL="285750" indent="-285750">
              <a:buFont typeface="Arial" panose="020B0604020202020204" pitchFamily="34" charset="0"/>
              <a:buChar char="•"/>
            </a:pPr>
            <a:endParaRPr lang="en-US" dirty="0"/>
          </a:p>
        </p:txBody>
      </p:sp>
      <p:sp>
        <p:nvSpPr>
          <p:cNvPr id="3" name="TextBox 2">
            <a:extLst>
              <a:ext uri="{FF2B5EF4-FFF2-40B4-BE49-F238E27FC236}">
                <a16:creationId xmlns:a16="http://schemas.microsoft.com/office/drawing/2014/main" id="{74D95567-317B-4EE3-8A77-8F3E6D1DDA32}"/>
              </a:ext>
            </a:extLst>
          </p:cNvPr>
          <p:cNvSpPr txBox="1"/>
          <p:nvPr/>
        </p:nvSpPr>
        <p:spPr>
          <a:xfrm>
            <a:off x="215757" y="3099468"/>
            <a:ext cx="9535111" cy="923330"/>
          </a:xfrm>
          <a:prstGeom prst="rect">
            <a:avLst/>
          </a:prstGeom>
          <a:noFill/>
        </p:spPr>
        <p:txBody>
          <a:bodyPr wrap="none" rtlCol="0">
            <a:spAutoFit/>
          </a:bodyPr>
          <a:lstStyle/>
          <a:p>
            <a:r>
              <a:rPr lang="en-US" dirty="0"/>
              <a:t>5. Unified Customer Profile</a:t>
            </a:r>
          </a:p>
          <a:p>
            <a:pPr marL="742950" lvl="1" indent="-285750">
              <a:buFont typeface="Arial" panose="020B0604020202020204" pitchFamily="34" charset="0"/>
              <a:buChar char="•"/>
            </a:pPr>
            <a:r>
              <a:rPr lang="en-US" sz="1200" dirty="0"/>
              <a:t>Enable all 5 UCP attributes and tie it up to the respective User attributes under User setup.</a:t>
            </a:r>
          </a:p>
          <a:p>
            <a:pPr marL="742950" lvl="1" indent="-285750">
              <a:buFont typeface="Arial" panose="020B0604020202020204" pitchFamily="34" charset="0"/>
              <a:buChar char="•"/>
            </a:pPr>
            <a:r>
              <a:rPr lang="en-US" sz="1200" dirty="0"/>
              <a:t>Need to capture the de-anonymized IDs from all user touch points using sitemap for id-sync.</a:t>
            </a:r>
          </a:p>
          <a:p>
            <a:pPr marL="742950" lvl="1" indent="-285750">
              <a:buFont typeface="Arial" panose="020B0604020202020204" pitchFamily="34" charset="0"/>
              <a:buChar char="•"/>
            </a:pPr>
            <a:r>
              <a:rPr lang="en-US" sz="1200" dirty="0"/>
              <a:t>Subcat fields can only be used for segmentation but cannot be tagged as a dimension for the category item type and to help build affinity. </a:t>
            </a:r>
          </a:p>
        </p:txBody>
      </p:sp>
      <p:sp>
        <p:nvSpPr>
          <p:cNvPr id="4" name="TextBox 3">
            <a:extLst>
              <a:ext uri="{FF2B5EF4-FFF2-40B4-BE49-F238E27FC236}">
                <a16:creationId xmlns:a16="http://schemas.microsoft.com/office/drawing/2014/main" id="{26CF2622-A819-4C5F-A9C0-F437AA7C2F2A}"/>
              </a:ext>
            </a:extLst>
          </p:cNvPr>
          <p:cNvSpPr txBox="1"/>
          <p:nvPr/>
        </p:nvSpPr>
        <p:spPr>
          <a:xfrm>
            <a:off x="337678" y="4435719"/>
            <a:ext cx="6051337" cy="1661993"/>
          </a:xfrm>
          <a:prstGeom prst="rect">
            <a:avLst/>
          </a:prstGeom>
          <a:noFill/>
        </p:spPr>
        <p:txBody>
          <a:bodyPr wrap="none" rtlCol="0">
            <a:spAutoFit/>
          </a:bodyPr>
          <a:lstStyle/>
          <a:p>
            <a:r>
              <a:rPr lang="en-US" dirty="0"/>
              <a:t>6. Segmentation</a:t>
            </a:r>
          </a:p>
          <a:p>
            <a:pPr marL="742950" lvl="1" indent="-285750">
              <a:buFont typeface="Arial" panose="020B0604020202020204" pitchFamily="34" charset="0"/>
              <a:buChar char="•"/>
            </a:pPr>
            <a:r>
              <a:rPr lang="en-US" sz="1200" dirty="0"/>
              <a:t>Can be built using OOB attributes and custom attributes &amp; dimensions configured.</a:t>
            </a:r>
          </a:p>
          <a:p>
            <a:pPr marL="742950" lvl="1" indent="-285750">
              <a:buFont typeface="Arial" panose="020B0604020202020204" pitchFamily="34" charset="0"/>
              <a:buChar char="•"/>
            </a:pPr>
            <a:r>
              <a:rPr lang="en-US" sz="1200" dirty="0"/>
              <a:t>Evaluates the condition from top to down.</a:t>
            </a:r>
          </a:p>
          <a:p>
            <a:pPr marL="742950" lvl="1" indent="-285750">
              <a:buFont typeface="Arial" panose="020B0604020202020204" pitchFamily="34" charset="0"/>
              <a:buChar char="•"/>
            </a:pPr>
            <a:r>
              <a:rPr lang="en-US" sz="1200" dirty="0"/>
              <a:t>Cannot do contain function in segmentation .</a:t>
            </a:r>
          </a:p>
          <a:p>
            <a:pPr marL="742950" lvl="1" indent="-285750">
              <a:buFont typeface="Arial" panose="020B0604020202020204" pitchFamily="34" charset="0"/>
              <a:buChar char="•"/>
            </a:pPr>
            <a:r>
              <a:rPr lang="en-US" sz="1200" dirty="0"/>
              <a:t>Segment rules do not support date range</a:t>
            </a:r>
          </a:p>
          <a:p>
            <a:pPr marL="742950" lvl="1" indent="-285750">
              <a:buFont typeface="Arial" panose="020B0604020202020204" pitchFamily="34" charset="0"/>
              <a:buChar char="•"/>
            </a:pPr>
            <a:endParaRPr lang="en-US" dirty="0"/>
          </a:p>
          <a:p>
            <a:pPr marL="742950" lvl="1" indent="-285750">
              <a:buFont typeface="Arial" panose="020B0604020202020204" pitchFamily="34" charset="0"/>
              <a:buChar char="•"/>
            </a:pPr>
            <a:endParaRPr lang="en-US" dirty="0"/>
          </a:p>
        </p:txBody>
      </p:sp>
    </p:spTree>
    <p:extLst>
      <p:ext uri="{BB962C8B-B14F-4D97-AF65-F5344CB8AC3E}">
        <p14:creationId xmlns:p14="http://schemas.microsoft.com/office/powerpoint/2010/main" val="346522457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0">
            <a:extLst>
              <a:ext uri="{FF2B5EF4-FFF2-40B4-BE49-F238E27FC236}">
                <a16:creationId xmlns:a16="http://schemas.microsoft.com/office/drawing/2014/main" id="{54F0E06A-7E06-4475-B31E-2EC43034958C}"/>
              </a:ext>
            </a:extLst>
          </p:cNvPr>
          <p:cNvSpPr txBox="1">
            <a:spLocks/>
          </p:cNvSpPr>
          <p:nvPr/>
        </p:nvSpPr>
        <p:spPr>
          <a:xfrm>
            <a:off x="-1" y="165101"/>
            <a:ext cx="12191999" cy="409330"/>
          </a:xfrm>
          <a:prstGeom prst="rect">
            <a:avLst/>
          </a:prstGeom>
          <a:solidFill>
            <a:schemeClr val="tx1"/>
          </a:solidFill>
        </p:spPr>
        <p:txBody>
          <a:bodyPr vert="horz" lIns="0" tIns="45720" rIns="0" bIns="0" rtlCol="0" anchor="b" anchorCtr="0">
            <a:noAutofit/>
          </a:bodyPr>
          <a:lstStyle>
            <a:lvl1pPr algn="l" defTabSz="914400" rtl="0" eaLnBrk="1" latinLnBrk="0" hangingPunct="1">
              <a:lnSpc>
                <a:spcPct val="90000"/>
              </a:lnSpc>
              <a:spcBef>
                <a:spcPct val="0"/>
              </a:spcBef>
              <a:buNone/>
              <a:defRPr lang="en-US" sz="3600" b="0" kern="1200" spc="-75" dirty="0">
                <a:solidFill>
                  <a:schemeClr val="tx1"/>
                </a:solidFill>
                <a:latin typeface="+mj-lt"/>
                <a:ea typeface="+mj-ea"/>
                <a:cs typeface="+mj-cs"/>
              </a:defRPr>
            </a:lvl1pPr>
          </a:lstStyle>
          <a:p>
            <a:pPr algn="ctr"/>
            <a:endParaRPr lang="en-US" sz="2800" b="1" dirty="0">
              <a:solidFill>
                <a:schemeClr val="bg1"/>
              </a:solidFill>
            </a:endParaRPr>
          </a:p>
          <a:p>
            <a:pPr algn="ctr"/>
            <a:endParaRPr lang="en-US" sz="2800" b="1" dirty="0">
              <a:solidFill>
                <a:schemeClr val="bg1"/>
              </a:solidFill>
            </a:endParaRPr>
          </a:p>
          <a:p>
            <a:pPr algn="ctr"/>
            <a:endParaRPr lang="en-US" sz="2800" b="1" dirty="0">
              <a:solidFill>
                <a:schemeClr val="bg1"/>
              </a:solidFill>
            </a:endParaRPr>
          </a:p>
          <a:p>
            <a:pPr algn="ctr"/>
            <a:r>
              <a:rPr lang="en-US" sz="2800" b="1" dirty="0">
                <a:solidFill>
                  <a:schemeClr val="bg1"/>
                </a:solidFill>
              </a:rPr>
              <a:t>Key Learnings – Feature Level </a:t>
            </a:r>
          </a:p>
        </p:txBody>
      </p:sp>
      <p:pic>
        <p:nvPicPr>
          <p:cNvPr id="28" name="Picture 27">
            <a:extLst>
              <a:ext uri="{FF2B5EF4-FFF2-40B4-BE49-F238E27FC236}">
                <a16:creationId xmlns:a16="http://schemas.microsoft.com/office/drawing/2014/main" id="{A407B2AF-0953-4E9A-9E22-D7A08F8B0195}"/>
              </a:ext>
            </a:extLst>
          </p:cNvPr>
          <p:cNvPicPr>
            <a:picLocks noChangeAspect="1"/>
          </p:cNvPicPr>
          <p:nvPr/>
        </p:nvPicPr>
        <p:blipFill>
          <a:blip r:embed="rId3"/>
          <a:stretch>
            <a:fillRect/>
          </a:stretch>
        </p:blipFill>
        <p:spPr>
          <a:xfrm>
            <a:off x="337678" y="6426731"/>
            <a:ext cx="3133725" cy="238125"/>
          </a:xfrm>
          <a:prstGeom prst="rect">
            <a:avLst/>
          </a:prstGeom>
        </p:spPr>
      </p:pic>
      <p:sp>
        <p:nvSpPr>
          <p:cNvPr id="2" name="TextBox 1">
            <a:extLst>
              <a:ext uri="{FF2B5EF4-FFF2-40B4-BE49-F238E27FC236}">
                <a16:creationId xmlns:a16="http://schemas.microsoft.com/office/drawing/2014/main" id="{D6A18DB9-7A66-41B6-A4B7-B245D342B7EC}"/>
              </a:ext>
            </a:extLst>
          </p:cNvPr>
          <p:cNvSpPr txBox="1"/>
          <p:nvPr/>
        </p:nvSpPr>
        <p:spPr>
          <a:xfrm>
            <a:off x="114617" y="974611"/>
            <a:ext cx="11962762" cy="3046988"/>
          </a:xfrm>
          <a:prstGeom prst="rect">
            <a:avLst/>
          </a:prstGeom>
          <a:noFill/>
        </p:spPr>
        <p:txBody>
          <a:bodyPr wrap="none" rtlCol="0">
            <a:spAutoFit/>
          </a:bodyPr>
          <a:lstStyle/>
          <a:p>
            <a:r>
              <a:rPr lang="en-US" dirty="0"/>
              <a:t>6. Recipes and Recommendations</a:t>
            </a:r>
          </a:p>
          <a:p>
            <a:pPr marL="742950" lvl="1" indent="-285750">
              <a:buFont typeface="Arial" panose="020B0604020202020204" pitchFamily="34" charset="0"/>
              <a:buChar char="•"/>
            </a:pPr>
            <a:r>
              <a:rPr lang="en-US" sz="1200" dirty="0"/>
              <a:t>Configure the Feature Engineering section before hand prior to building any recommendations</a:t>
            </a:r>
            <a:r>
              <a:rPr lang="en-US" dirty="0"/>
              <a:t>.</a:t>
            </a:r>
          </a:p>
          <a:p>
            <a:pPr marL="742950" lvl="1" indent="-285750">
              <a:buFont typeface="Arial" panose="020B0604020202020204" pitchFamily="34" charset="0"/>
              <a:buChar char="•"/>
            </a:pPr>
            <a:r>
              <a:rPr lang="en-US" sz="1200" dirty="0"/>
              <a:t>Ingredients: Creates a list of products that will be eligible for recommendation. Depending on the ingredient, the products might have a priority order in terms of their relevance.</a:t>
            </a:r>
          </a:p>
          <a:p>
            <a:pPr lvl="1"/>
            <a:r>
              <a:rPr lang="en-US" sz="1200" dirty="0"/>
              <a:t>        The lists generated by the multiple ingredients are combined.  (A product returned by multiple ingredients will have higher priority)</a:t>
            </a:r>
          </a:p>
          <a:p>
            <a:pPr marL="628650" lvl="1" indent="-171450">
              <a:buFont typeface="Arial" panose="020B0604020202020204" pitchFamily="34" charset="0"/>
              <a:buChar char="•"/>
            </a:pPr>
            <a:r>
              <a:rPr lang="en-US" sz="1200" dirty="0"/>
              <a:t>   This recipe returns products from the same category in trending order. If there are less than 10 products from that category, the rest are products from sibling categories, </a:t>
            </a:r>
          </a:p>
          <a:p>
            <a:pPr lvl="1"/>
            <a:r>
              <a:rPr lang="en-US" sz="1200" dirty="0"/>
              <a:t>         in trending order. If the number is still less than 10, trending products are returned (regardless of category).</a:t>
            </a:r>
          </a:p>
          <a:p>
            <a:pPr marL="628650" lvl="1" indent="-171450">
              <a:buFont typeface="Arial" panose="020B0604020202020204" pitchFamily="34" charset="0"/>
              <a:buChar char="•"/>
            </a:pPr>
            <a:r>
              <a:rPr lang="en-US" sz="1200" dirty="0"/>
              <a:t>    A recipe consists of 4 parts: Ingredients, Exclusions, Boosters, and Variations.</a:t>
            </a:r>
          </a:p>
          <a:p>
            <a:pPr marL="628650" lvl="1" indent="-171450">
              <a:buFont typeface="Arial" panose="020B0604020202020204" pitchFamily="34" charset="0"/>
              <a:buChar char="•"/>
            </a:pPr>
            <a:r>
              <a:rPr lang="en-US" sz="1200" dirty="0"/>
              <a:t>   Ingredients: Creates a list of products that will be eligible for recommendation. Depending on the ingredient, the products might have a priority order in terms of their relevance. </a:t>
            </a:r>
          </a:p>
          <a:p>
            <a:pPr lvl="1"/>
            <a:r>
              <a:rPr lang="en-US" sz="1200" dirty="0"/>
              <a:t>        The lists generated by the multiple ingredients are combined.  (A product returned by multiple ingredients will have higher priority)</a:t>
            </a:r>
          </a:p>
          <a:p>
            <a:pPr marL="628650" lvl="1" indent="-171450">
              <a:buFont typeface="Arial" panose="020B0604020202020204" pitchFamily="34" charset="0"/>
              <a:buChar char="•"/>
            </a:pPr>
            <a:r>
              <a:rPr lang="en-US" sz="1200" dirty="0"/>
              <a:t>   Exclusions: This step removes/adds products to the list.</a:t>
            </a:r>
          </a:p>
          <a:p>
            <a:pPr marL="628650" lvl="1" indent="-171450">
              <a:buFont typeface="Arial" panose="020B0604020202020204" pitchFamily="34" charset="0"/>
              <a:buChar char="•"/>
            </a:pPr>
            <a:r>
              <a:rPr lang="en-US" sz="1200" dirty="0"/>
              <a:t>   Boosters: The booster criteria decides which products from the list is to be brought to the top.</a:t>
            </a:r>
          </a:p>
          <a:p>
            <a:pPr marL="628650" lvl="1" indent="-171450">
              <a:buFont typeface="Arial" panose="020B0604020202020204" pitchFamily="34" charset="0"/>
              <a:buChar char="•"/>
            </a:pPr>
            <a:r>
              <a:rPr lang="en-US" sz="1200" dirty="0"/>
              <a:t>   Variations: Only two options available. Dimensional is used to restrict the number of products with a common feature. Randomized is used to randomize the products. </a:t>
            </a:r>
          </a:p>
          <a:p>
            <a:pPr lvl="1"/>
            <a:r>
              <a:rPr lang="en-US" sz="1200" dirty="0"/>
              <a:t>        Enabling this can mean that your boosters are ineffective, and the priority order generated by the ingredient is not followed.</a:t>
            </a:r>
          </a:p>
          <a:p>
            <a:pPr lvl="1"/>
            <a:endParaRPr lang="en-US" sz="1200" dirty="0"/>
          </a:p>
          <a:p>
            <a:pPr lvl="1"/>
            <a:endParaRPr lang="en-US" sz="1200" dirty="0"/>
          </a:p>
        </p:txBody>
      </p:sp>
    </p:spTree>
    <p:extLst>
      <p:ext uri="{BB962C8B-B14F-4D97-AF65-F5344CB8AC3E}">
        <p14:creationId xmlns:p14="http://schemas.microsoft.com/office/powerpoint/2010/main" val="94189932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0">
            <a:extLst>
              <a:ext uri="{FF2B5EF4-FFF2-40B4-BE49-F238E27FC236}">
                <a16:creationId xmlns:a16="http://schemas.microsoft.com/office/drawing/2014/main" id="{54F0E06A-7E06-4475-B31E-2EC43034958C}"/>
              </a:ext>
            </a:extLst>
          </p:cNvPr>
          <p:cNvSpPr txBox="1">
            <a:spLocks/>
          </p:cNvSpPr>
          <p:nvPr/>
        </p:nvSpPr>
        <p:spPr>
          <a:xfrm>
            <a:off x="-1" y="165101"/>
            <a:ext cx="12191999" cy="409330"/>
          </a:xfrm>
          <a:prstGeom prst="rect">
            <a:avLst/>
          </a:prstGeom>
          <a:solidFill>
            <a:schemeClr val="tx1"/>
          </a:solidFill>
        </p:spPr>
        <p:txBody>
          <a:bodyPr vert="horz" lIns="0" tIns="45720" rIns="0" bIns="0" rtlCol="0" anchor="b" anchorCtr="0">
            <a:noAutofit/>
          </a:bodyPr>
          <a:lstStyle>
            <a:lvl1pPr algn="l" defTabSz="914400" rtl="0" eaLnBrk="1" latinLnBrk="0" hangingPunct="1">
              <a:lnSpc>
                <a:spcPct val="90000"/>
              </a:lnSpc>
              <a:spcBef>
                <a:spcPct val="0"/>
              </a:spcBef>
              <a:buNone/>
              <a:defRPr lang="en-US" sz="3600" b="0" kern="1200" spc="-75" dirty="0">
                <a:solidFill>
                  <a:schemeClr val="tx1"/>
                </a:solidFill>
                <a:latin typeface="+mj-lt"/>
                <a:ea typeface="+mj-ea"/>
                <a:cs typeface="+mj-cs"/>
              </a:defRPr>
            </a:lvl1pPr>
          </a:lstStyle>
          <a:p>
            <a:pPr algn="ctr"/>
            <a:r>
              <a:rPr lang="en-US" sz="2800" b="1" dirty="0">
                <a:solidFill>
                  <a:schemeClr val="bg1"/>
                </a:solidFill>
              </a:rPr>
              <a:t>Best Practices</a:t>
            </a:r>
          </a:p>
        </p:txBody>
      </p:sp>
      <p:pic>
        <p:nvPicPr>
          <p:cNvPr id="28" name="Picture 27">
            <a:extLst>
              <a:ext uri="{FF2B5EF4-FFF2-40B4-BE49-F238E27FC236}">
                <a16:creationId xmlns:a16="http://schemas.microsoft.com/office/drawing/2014/main" id="{A407B2AF-0953-4E9A-9E22-D7A08F8B0195}"/>
              </a:ext>
            </a:extLst>
          </p:cNvPr>
          <p:cNvPicPr>
            <a:picLocks noChangeAspect="1"/>
          </p:cNvPicPr>
          <p:nvPr/>
        </p:nvPicPr>
        <p:blipFill>
          <a:blip r:embed="rId3"/>
          <a:stretch>
            <a:fillRect/>
          </a:stretch>
        </p:blipFill>
        <p:spPr>
          <a:xfrm>
            <a:off x="337678" y="6426731"/>
            <a:ext cx="3133725" cy="238125"/>
          </a:xfrm>
          <a:prstGeom prst="rect">
            <a:avLst/>
          </a:prstGeom>
        </p:spPr>
      </p:pic>
      <p:sp>
        <p:nvSpPr>
          <p:cNvPr id="2" name="Rectangle 1">
            <a:extLst>
              <a:ext uri="{FF2B5EF4-FFF2-40B4-BE49-F238E27FC236}">
                <a16:creationId xmlns:a16="http://schemas.microsoft.com/office/drawing/2014/main" id="{DD01D424-F3D2-4503-9B4E-F8820B2B68BF}"/>
              </a:ext>
            </a:extLst>
          </p:cNvPr>
          <p:cNvSpPr/>
          <p:nvPr/>
        </p:nvSpPr>
        <p:spPr>
          <a:xfrm>
            <a:off x="130139" y="696747"/>
            <a:ext cx="10791290" cy="5632311"/>
          </a:xfrm>
          <a:prstGeom prst="rect">
            <a:avLst/>
          </a:prstGeom>
        </p:spPr>
        <p:txBody>
          <a:bodyPr wrap="square">
            <a:spAutoFit/>
          </a:bodyPr>
          <a:lstStyle/>
          <a:p>
            <a:pPr marL="742950" lvl="1" indent="-285750">
              <a:buFont typeface="Arial" panose="020B0604020202020204" pitchFamily="34" charset="0"/>
              <a:buChar char="•"/>
            </a:pPr>
            <a:r>
              <a:rPr lang="en-US" dirty="0"/>
              <a:t>Use Evergage launcher Chrome extension to debug sitemap, campaign, template and event’s payload.</a:t>
            </a:r>
          </a:p>
          <a:p>
            <a:pPr marL="742950" lvl="1" indent="-285750">
              <a:buFont typeface="Arial" panose="020B0604020202020204" pitchFamily="34" charset="0"/>
              <a:buChar char="•"/>
            </a:pPr>
            <a:r>
              <a:rPr lang="en-US" dirty="0"/>
              <a:t>Use a version control tool to manage your staging &amp; prod code.</a:t>
            </a:r>
          </a:p>
          <a:p>
            <a:pPr marL="742950" lvl="1" indent="-285750">
              <a:buFont typeface="Arial" panose="020B0604020202020204" pitchFamily="34" charset="0"/>
              <a:buChar char="•"/>
            </a:pPr>
            <a:r>
              <a:rPr lang="en-US" dirty="0"/>
              <a:t>We can’t delete a dataset, so define nomenclature before hand.</a:t>
            </a:r>
          </a:p>
          <a:p>
            <a:pPr marL="742950" lvl="1" indent="-285750">
              <a:buFont typeface="Arial" panose="020B0604020202020204" pitchFamily="34" charset="0"/>
              <a:buChar char="•"/>
            </a:pPr>
            <a:r>
              <a:rPr lang="en-US" dirty="0"/>
              <a:t>It is recommended to use separate dataset for dev VS prod for each brand. </a:t>
            </a:r>
          </a:p>
          <a:p>
            <a:pPr marL="742950" lvl="1" indent="-285750">
              <a:buFont typeface="Arial" panose="020B0604020202020204" pitchFamily="34" charset="0"/>
              <a:buChar char="•"/>
            </a:pPr>
            <a:r>
              <a:rPr lang="en-US" dirty="0"/>
              <a:t>Deciding on which attributes can be captured through dataLayer versus DOM. As a best practice, dataLayer&gt; meta tags&gt; DOM.</a:t>
            </a:r>
          </a:p>
          <a:p>
            <a:pPr marL="742950" lvl="1" indent="-285750">
              <a:buFont typeface="Arial" panose="020B0604020202020204" pitchFamily="34" charset="0"/>
              <a:buChar char="•"/>
            </a:pPr>
            <a:r>
              <a:rPr lang="en-US" dirty="0"/>
              <a:t>Creatives and campaign design (attributes that can be configured and defined on template) to be defined by client. Approved Creatives like Background Image,</a:t>
            </a:r>
          </a:p>
          <a:p>
            <a:pPr marL="742950" lvl="1" indent="-285750">
              <a:buFont typeface="Arial" panose="020B0604020202020204" pitchFamily="34" charset="0"/>
              <a:buChar char="•"/>
            </a:pPr>
            <a:r>
              <a:rPr lang="en-US" dirty="0"/>
              <a:t>Header, body texts, CTA text, Logo etc.</a:t>
            </a:r>
          </a:p>
          <a:p>
            <a:pPr marL="742950" lvl="1" indent="-285750">
              <a:buFont typeface="Arial" panose="020B0604020202020204" pitchFamily="34" charset="0"/>
              <a:buChar char="•"/>
            </a:pPr>
            <a:r>
              <a:rPr lang="en-US" dirty="0"/>
              <a:t>IS pixel to be deployed on website to be able to capture dataLayer attributes (ideally below the dataLayer script under Head section).</a:t>
            </a:r>
          </a:p>
          <a:p>
            <a:pPr marL="742950" lvl="1" indent="-285750">
              <a:buFont typeface="Arial" panose="020B0604020202020204" pitchFamily="34" charset="0"/>
              <a:buChar char="•"/>
            </a:pPr>
            <a:r>
              <a:rPr lang="en-US" dirty="0"/>
              <a:t>Defining customer identification points (sign up points on site) for identity stitching.</a:t>
            </a:r>
          </a:p>
          <a:p>
            <a:pPr marL="742950" lvl="1" indent="-285750">
              <a:buFont typeface="Arial" panose="020B0604020202020204" pitchFamily="34" charset="0"/>
              <a:buChar char="•"/>
            </a:pPr>
            <a:r>
              <a:rPr lang="en-US" dirty="0"/>
              <a:t>For ETL loads, after a full one-time load, its advisable to do delta load going ahead.</a:t>
            </a:r>
          </a:p>
          <a:p>
            <a:pPr marL="742950" lvl="1" indent="-285750">
              <a:buFont typeface="Arial" panose="020B0604020202020204" pitchFamily="34" charset="0"/>
              <a:buChar char="•"/>
            </a:pPr>
            <a:r>
              <a:rPr lang="en-US" dirty="0"/>
              <a:t>Guardian enablement for reporting.</a:t>
            </a:r>
          </a:p>
          <a:p>
            <a:pPr marL="742950" lvl="1" indent="-285750">
              <a:buFont typeface="Arial" panose="020B0604020202020204" pitchFamily="34" charset="0"/>
              <a:buChar char="•"/>
            </a:pPr>
            <a:r>
              <a:rPr lang="en-US" dirty="0"/>
              <a:t>For recommendation , adding a fallback option using Trending ingredient is recommended. </a:t>
            </a:r>
          </a:p>
          <a:p>
            <a:pPr marL="742950" lvl="1" indent="-285750">
              <a:buFont typeface="Arial" panose="020B0604020202020204" pitchFamily="34" charset="0"/>
              <a:buChar char="•"/>
            </a:pPr>
            <a:r>
              <a:rPr lang="en-US" dirty="0"/>
              <a:t>This combination returns all products in the catalog arranged in decreasing order of trending.</a:t>
            </a:r>
          </a:p>
          <a:p>
            <a:pPr marL="742950" lvl="1" indent="-285750">
              <a:buFont typeface="Arial" panose="020B0604020202020204" pitchFamily="34" charset="0"/>
              <a:buChar char="•"/>
            </a:pPr>
            <a:endParaRPr lang="en-US" dirty="0"/>
          </a:p>
          <a:p>
            <a:pPr marL="742950" lvl="1" indent="-285750">
              <a:buFont typeface="Arial" panose="020B0604020202020204" pitchFamily="34" charset="0"/>
              <a:buChar char="•"/>
            </a:pPr>
            <a:endParaRPr lang="en-US" dirty="0"/>
          </a:p>
          <a:p>
            <a:pPr lvl="1"/>
            <a:endParaRPr lang="en-US" dirty="0"/>
          </a:p>
          <a:p>
            <a:pPr marL="742950" lvl="1" indent="-285750">
              <a:buFont typeface="Arial" panose="020B0604020202020204" pitchFamily="34" charset="0"/>
              <a:buChar char="•"/>
            </a:pPr>
            <a:endParaRPr lang="en-US" dirty="0"/>
          </a:p>
        </p:txBody>
      </p:sp>
    </p:spTree>
    <p:extLst>
      <p:ext uri="{BB962C8B-B14F-4D97-AF65-F5344CB8AC3E}">
        <p14:creationId xmlns:p14="http://schemas.microsoft.com/office/powerpoint/2010/main" val="28502849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44E1B76-4184-48FF-B65A-9873579446A9}"/>
              </a:ext>
            </a:extLst>
          </p:cNvPr>
          <p:cNvSpPr>
            <a:spLocks noGrp="1"/>
          </p:cNvSpPr>
          <p:nvPr>
            <p:ph type="sldNum" sz="quarter" idx="12"/>
          </p:nvPr>
        </p:nvSpPr>
        <p:spPr/>
        <p:txBody>
          <a:bodyPr/>
          <a:lstStyle/>
          <a:p>
            <a:fld id="{0378053D-D3D6-4900-B3A2-0AC1946A28D2}" type="slidenum">
              <a:rPr lang="en-US" smtClean="0"/>
              <a:t>15</a:t>
            </a:fld>
            <a:endParaRPr lang="en-US"/>
          </a:p>
        </p:txBody>
      </p:sp>
      <p:sp>
        <p:nvSpPr>
          <p:cNvPr id="5" name="Title 10">
            <a:extLst>
              <a:ext uri="{FF2B5EF4-FFF2-40B4-BE49-F238E27FC236}">
                <a16:creationId xmlns:a16="http://schemas.microsoft.com/office/drawing/2014/main" id="{ADBD7E38-BCA1-4543-AAA0-A27EA8129CD1}"/>
              </a:ext>
            </a:extLst>
          </p:cNvPr>
          <p:cNvSpPr txBox="1">
            <a:spLocks/>
          </p:cNvSpPr>
          <p:nvPr/>
        </p:nvSpPr>
        <p:spPr>
          <a:xfrm>
            <a:off x="-1" y="165101"/>
            <a:ext cx="12191999" cy="409330"/>
          </a:xfrm>
          <a:prstGeom prst="rect">
            <a:avLst/>
          </a:prstGeom>
          <a:solidFill>
            <a:schemeClr val="tx1"/>
          </a:solidFill>
        </p:spPr>
        <p:txBody>
          <a:bodyPr vert="horz" lIns="0" tIns="45720" rIns="0" bIns="0" rtlCol="0" anchor="b" anchorCtr="0">
            <a:noAutofit/>
          </a:bodyPr>
          <a:lstStyle>
            <a:lvl1pPr algn="l" defTabSz="914400" rtl="0" eaLnBrk="1" latinLnBrk="0" hangingPunct="1">
              <a:lnSpc>
                <a:spcPct val="90000"/>
              </a:lnSpc>
              <a:spcBef>
                <a:spcPct val="0"/>
              </a:spcBef>
              <a:buNone/>
              <a:defRPr lang="en-US" sz="3600" b="0" kern="1200" spc="-75" dirty="0">
                <a:solidFill>
                  <a:schemeClr val="tx1"/>
                </a:solidFill>
                <a:latin typeface="+mj-lt"/>
                <a:ea typeface="+mj-ea"/>
                <a:cs typeface="+mj-cs"/>
              </a:defRPr>
            </a:lvl1pPr>
          </a:lstStyle>
          <a:p>
            <a:pPr algn="ctr"/>
            <a:r>
              <a:rPr lang="en-US" sz="2800" b="1" dirty="0">
                <a:solidFill>
                  <a:schemeClr val="bg1"/>
                </a:solidFill>
              </a:rPr>
              <a:t>Omni Channel Experience Market Leaders</a:t>
            </a:r>
          </a:p>
        </p:txBody>
      </p:sp>
      <p:pic>
        <p:nvPicPr>
          <p:cNvPr id="6" name="Picture 5">
            <a:extLst>
              <a:ext uri="{FF2B5EF4-FFF2-40B4-BE49-F238E27FC236}">
                <a16:creationId xmlns:a16="http://schemas.microsoft.com/office/drawing/2014/main" id="{12A99962-78E7-4910-B3E3-50E192A7B968}"/>
              </a:ext>
            </a:extLst>
          </p:cNvPr>
          <p:cNvPicPr>
            <a:picLocks noChangeAspect="1"/>
          </p:cNvPicPr>
          <p:nvPr/>
        </p:nvPicPr>
        <p:blipFill>
          <a:blip r:embed="rId2"/>
          <a:stretch>
            <a:fillRect/>
          </a:stretch>
        </p:blipFill>
        <p:spPr>
          <a:xfrm>
            <a:off x="337678" y="6426731"/>
            <a:ext cx="3133725" cy="238125"/>
          </a:xfrm>
          <a:prstGeom prst="rect">
            <a:avLst/>
          </a:prstGeom>
        </p:spPr>
      </p:pic>
      <p:graphicFrame>
        <p:nvGraphicFramePr>
          <p:cNvPr id="7" name="Content Placeholder 5">
            <a:extLst>
              <a:ext uri="{FF2B5EF4-FFF2-40B4-BE49-F238E27FC236}">
                <a16:creationId xmlns:a16="http://schemas.microsoft.com/office/drawing/2014/main" id="{D0E2FBC0-38E7-49A9-B844-1128352CA431}"/>
              </a:ext>
            </a:extLst>
          </p:cNvPr>
          <p:cNvGraphicFramePr>
            <a:graphicFrameLocks/>
          </p:cNvGraphicFramePr>
          <p:nvPr>
            <p:extLst>
              <p:ext uri="{D42A27DB-BD31-4B8C-83A1-F6EECF244321}">
                <p14:modId xmlns:p14="http://schemas.microsoft.com/office/powerpoint/2010/main" val="571886344"/>
              </p:ext>
            </p:extLst>
          </p:nvPr>
        </p:nvGraphicFramePr>
        <p:xfrm>
          <a:off x="337678" y="574433"/>
          <a:ext cx="11241547" cy="6218798"/>
        </p:xfrm>
        <a:graphic>
          <a:graphicData uri="http://schemas.openxmlformats.org/drawingml/2006/table">
            <a:tbl>
              <a:tblPr firstRow="1" bandRow="1">
                <a:tableStyleId>{EB9631B5-78F2-41C9-869B-9F39066F8104}</a:tableStyleId>
              </a:tblPr>
              <a:tblGrid>
                <a:gridCol w="1805447">
                  <a:extLst>
                    <a:ext uri="{9D8B030D-6E8A-4147-A177-3AD203B41FA5}">
                      <a16:colId xmlns:a16="http://schemas.microsoft.com/office/drawing/2014/main" val="20000"/>
                    </a:ext>
                  </a:extLst>
                </a:gridCol>
                <a:gridCol w="2876550">
                  <a:extLst>
                    <a:ext uri="{9D8B030D-6E8A-4147-A177-3AD203B41FA5}">
                      <a16:colId xmlns:a16="http://schemas.microsoft.com/office/drawing/2014/main" val="1095973593"/>
                    </a:ext>
                  </a:extLst>
                </a:gridCol>
                <a:gridCol w="3039042">
                  <a:extLst>
                    <a:ext uri="{9D8B030D-6E8A-4147-A177-3AD203B41FA5}">
                      <a16:colId xmlns:a16="http://schemas.microsoft.com/office/drawing/2014/main" val="2854792422"/>
                    </a:ext>
                  </a:extLst>
                </a:gridCol>
                <a:gridCol w="3520508">
                  <a:extLst>
                    <a:ext uri="{9D8B030D-6E8A-4147-A177-3AD203B41FA5}">
                      <a16:colId xmlns:a16="http://schemas.microsoft.com/office/drawing/2014/main" val="20001"/>
                    </a:ext>
                  </a:extLst>
                </a:gridCol>
              </a:tblGrid>
              <a:tr h="347255">
                <a:tc>
                  <a:txBody>
                    <a:bodyPr/>
                    <a:lstStyle/>
                    <a:p>
                      <a:r>
                        <a:rPr lang="en-US" dirty="0"/>
                        <a:t>Features</a:t>
                      </a:r>
                    </a:p>
                  </a:txBody>
                  <a:tcPr>
                    <a:solidFill>
                      <a:schemeClr val="accent1"/>
                    </a:solidFill>
                  </a:tcPr>
                </a:tc>
                <a:tc>
                  <a:txBody>
                    <a:bodyPr/>
                    <a:lstStyle/>
                    <a:p>
                      <a:pPr algn="ctr"/>
                      <a:r>
                        <a:rPr lang="en-US" dirty="0"/>
                        <a:t>Interaction Studio</a:t>
                      </a:r>
                    </a:p>
                  </a:txBody>
                  <a:tcPr>
                    <a:solidFill>
                      <a:schemeClr val="accent1"/>
                    </a:solidFill>
                  </a:tcPr>
                </a:tc>
                <a:tc>
                  <a:txBody>
                    <a:bodyPr/>
                    <a:lstStyle/>
                    <a:p>
                      <a:pPr algn="ctr"/>
                      <a:r>
                        <a:rPr lang="en-US" dirty="0"/>
                        <a:t>Adobe Target</a:t>
                      </a:r>
                    </a:p>
                  </a:txBody>
                  <a:tcPr>
                    <a:solidFill>
                      <a:schemeClr val="accent1"/>
                    </a:solidFill>
                  </a:tcPr>
                </a:tc>
                <a:tc>
                  <a:txBody>
                    <a:bodyPr/>
                    <a:lstStyle/>
                    <a:p>
                      <a:pPr algn="ctr"/>
                      <a:r>
                        <a:rPr lang="en-US" dirty="0"/>
                        <a:t>Optimizely</a:t>
                      </a:r>
                    </a:p>
                  </a:txBody>
                  <a:tcPr>
                    <a:solidFill>
                      <a:schemeClr val="accent1"/>
                    </a:solidFill>
                  </a:tcPr>
                </a:tc>
                <a:extLst>
                  <a:ext uri="{0D108BD9-81ED-4DB2-BD59-A6C34878D82A}">
                    <a16:rowId xmlns:a16="http://schemas.microsoft.com/office/drawing/2014/main" val="10000"/>
                  </a:ext>
                </a:extLst>
              </a:tr>
              <a:tr h="709378">
                <a:tc>
                  <a:txBody>
                    <a:bodyPr/>
                    <a:lstStyle/>
                    <a:p>
                      <a:r>
                        <a:rPr lang="en-US" sz="1600" b="1" dirty="0"/>
                        <a:t>True-Real Time Response</a:t>
                      </a:r>
                    </a:p>
                  </a:txBody>
                  <a:tcPr/>
                </a:tc>
                <a:tc>
                  <a:txBody>
                    <a:bodyPr/>
                    <a:lstStyle/>
                    <a:p>
                      <a:r>
                        <a:rPr lang="en-US" sz="1400" b="0" dirty="0"/>
                        <a:t>True Flicker-free real time response, targeting &amp; recommendations</a:t>
                      </a:r>
                    </a:p>
                  </a:txBody>
                  <a:tcPr/>
                </a:tc>
                <a:tc>
                  <a:txBody>
                    <a:bodyPr/>
                    <a:lstStyle/>
                    <a:p>
                      <a:r>
                        <a:rPr lang="en-US" sz="1400" b="0" dirty="0"/>
                        <a:t>Flicker-free response adds subsequent delay on pages</a:t>
                      </a:r>
                    </a:p>
                  </a:txBody>
                  <a:tcPr/>
                </a:tc>
                <a:tc>
                  <a:txBody>
                    <a:bodyPr/>
                    <a:lstStyle/>
                    <a:p>
                      <a:r>
                        <a:rPr lang="en-US" sz="1400" b="0" dirty="0"/>
                        <a:t>Can only respond in real time to the very limited data stored in the visitor cookie /browser.</a:t>
                      </a:r>
                    </a:p>
                  </a:txBody>
                  <a:tcPr/>
                </a:tc>
                <a:extLst>
                  <a:ext uri="{0D108BD9-81ED-4DB2-BD59-A6C34878D82A}">
                    <a16:rowId xmlns:a16="http://schemas.microsoft.com/office/drawing/2014/main" val="10001"/>
                  </a:ext>
                </a:extLst>
              </a:tr>
              <a:tr h="709378">
                <a:tc>
                  <a:txBody>
                    <a:bodyPr/>
                    <a:lstStyle/>
                    <a:p>
                      <a:r>
                        <a:rPr lang="en-US" sz="1600" b="1" dirty="0"/>
                        <a:t>Deeper Data,AI-ML Modelling</a:t>
                      </a:r>
                    </a:p>
                  </a:txBody>
                  <a:tcPr/>
                </a:tc>
                <a:tc>
                  <a:txBody>
                    <a:bodyPr/>
                    <a:lstStyle/>
                    <a:p>
                      <a:r>
                        <a:rPr lang="en-US" sz="1400" b="0" dirty="0"/>
                        <a:t>Real time user affinities, data ingestion, OOTB recipes &amp; custom modeling powered by RT attributes.</a:t>
                      </a:r>
                    </a:p>
                  </a:txBody>
                  <a:tcPr/>
                </a:tc>
                <a:tc>
                  <a:txBody>
                    <a:bodyPr/>
                    <a:lstStyle/>
                    <a:p>
                      <a:r>
                        <a:rPr lang="en-US" sz="1400" b="0" dirty="0"/>
                        <a:t>Offline ingestion capability is weak. Supports custom models.(Script heavy)</a:t>
                      </a:r>
                    </a:p>
                  </a:txBody>
                  <a:tcPr/>
                </a:tc>
                <a:tc>
                  <a:txBody>
                    <a:bodyPr/>
                    <a:lstStyle/>
                    <a:p>
                      <a:r>
                        <a:rPr lang="en-US" sz="1400" b="0" dirty="0"/>
                        <a:t>Very Limited capabilities.</a:t>
                      </a:r>
                    </a:p>
                  </a:txBody>
                  <a:tcPr/>
                </a:tc>
                <a:extLst>
                  <a:ext uri="{0D108BD9-81ED-4DB2-BD59-A6C34878D82A}">
                    <a16:rowId xmlns:a16="http://schemas.microsoft.com/office/drawing/2014/main" val="10002"/>
                  </a:ext>
                </a:extLst>
              </a:tr>
              <a:tr h="919564">
                <a:tc>
                  <a:txBody>
                    <a:bodyPr/>
                    <a:lstStyle/>
                    <a:p>
                      <a:r>
                        <a:rPr lang="en-US" sz="1600" b="1" dirty="0"/>
                        <a:t>Identity Management</a:t>
                      </a:r>
                    </a:p>
                  </a:txBody>
                  <a:tcPr/>
                </a:tc>
                <a:tc>
                  <a:txBody>
                    <a:bodyPr/>
                    <a:lstStyle/>
                    <a:p>
                      <a:r>
                        <a:rPr lang="en-US" sz="1400" b="0" dirty="0"/>
                        <a:t>Real-time Anonymous to known visitor across channel. Can be anonymous &amp; known in same session.</a:t>
                      </a:r>
                    </a:p>
                  </a:txBody>
                  <a:tcPr/>
                </a:tc>
                <a:tc>
                  <a:txBody>
                    <a:bodyPr/>
                    <a:lstStyle/>
                    <a:p>
                      <a:r>
                        <a:rPr lang="en-US" sz="1400" b="0" dirty="0"/>
                        <a:t>Need time to process raw data before session stitching.</a:t>
                      </a:r>
                    </a:p>
                  </a:txBody>
                  <a:tcPr/>
                </a:tc>
                <a:tc>
                  <a:txBody>
                    <a:bodyPr/>
                    <a:lstStyle/>
                    <a:p>
                      <a:r>
                        <a:rPr lang="en-US" sz="1400" b="0" dirty="0"/>
                        <a:t>Unable to track logged-in visitors across</a:t>
                      </a:r>
                    </a:p>
                    <a:p>
                      <a:r>
                        <a:rPr lang="en-US" sz="1400" b="0" dirty="0"/>
                        <a:t>devices and target them appropriately</a:t>
                      </a:r>
                    </a:p>
                  </a:txBody>
                  <a:tcPr/>
                </a:tc>
                <a:extLst>
                  <a:ext uri="{0D108BD9-81ED-4DB2-BD59-A6C34878D82A}">
                    <a16:rowId xmlns:a16="http://schemas.microsoft.com/office/drawing/2014/main" val="10003"/>
                  </a:ext>
                </a:extLst>
              </a:tr>
              <a:tr h="607696">
                <a:tc>
                  <a:txBody>
                    <a:bodyPr/>
                    <a:lstStyle/>
                    <a:p>
                      <a:r>
                        <a:rPr lang="en-US" sz="1600" b="1" dirty="0"/>
                        <a:t>Omni-Channel Setup</a:t>
                      </a:r>
                    </a:p>
                  </a:txBody>
                  <a:tcPr/>
                </a:tc>
                <a:tc>
                  <a:txBody>
                    <a:bodyPr/>
                    <a:lstStyle/>
                    <a:p>
                      <a:r>
                        <a:rPr lang="en-US" sz="1400" b="0" dirty="0"/>
                        <a:t>Can Target and recommend on web, app &amp; Email.</a:t>
                      </a:r>
                    </a:p>
                  </a:txBody>
                  <a:tcPr/>
                </a:tc>
                <a:tc>
                  <a:txBody>
                    <a:bodyPr/>
                    <a:lstStyle/>
                    <a:p>
                      <a:r>
                        <a:rPr lang="en-US" sz="1400" b="0" dirty="0"/>
                        <a:t>Can target on web and app.</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Can target on web &amp; app.</a:t>
                      </a:r>
                    </a:p>
                  </a:txBody>
                  <a:tcPr/>
                </a:tc>
                <a:extLst>
                  <a:ext uri="{0D108BD9-81ED-4DB2-BD59-A6C34878D82A}">
                    <a16:rowId xmlns:a16="http://schemas.microsoft.com/office/drawing/2014/main" val="10004"/>
                  </a:ext>
                </a:extLst>
              </a:tr>
              <a:tr h="7093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1:1 experienc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Truly 1:1. Relevant to each individual based off his real-time and historical affinity and inte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1:1 is cumbersome in Target, needs Adobe Campaign in conjuncture to do so.</a:t>
                      </a:r>
                    </a:p>
                  </a:txBody>
                  <a:tcPr/>
                </a:tc>
                <a:tc>
                  <a:txBody>
                    <a:bodyPr/>
                    <a:lstStyle/>
                    <a:p>
                      <a:r>
                        <a:rPr lang="en-US" sz="1400" dirty="0"/>
                        <a:t>Primitive, built for A/B &amp; Multivariate Tests</a:t>
                      </a:r>
                    </a:p>
                  </a:txBody>
                  <a:tcPr/>
                </a:tc>
                <a:extLst>
                  <a:ext uri="{0D108BD9-81ED-4DB2-BD59-A6C34878D82A}">
                    <a16:rowId xmlns:a16="http://schemas.microsoft.com/office/drawing/2014/main" val="10005"/>
                  </a:ext>
                </a:extLst>
              </a:tr>
              <a:tr h="947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Licens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Fewer licenses and is a complete omnichannel RTIM, full journey visibility (includes post-purchase), and an RTIM-focused roadmap. </a:t>
                      </a: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Adobe's RTIM solution relies on licensing &amp; implementing 3-4 different products, spanning all three sub-clouds of the Adobe Experience Cloud.</a:t>
                      </a:r>
                      <a:endParaRPr lang="en-US" sz="1400" dirty="0"/>
                    </a:p>
                  </a:txBody>
                  <a:tcPr/>
                </a:tc>
                <a:tc>
                  <a:txBody>
                    <a:bodyPr/>
                    <a:lstStyle/>
                    <a:p>
                      <a:r>
                        <a:rPr lang="en-US" sz="1400" dirty="0"/>
                        <a:t>Requires GA360 license which covers whole GA analytics suite.</a:t>
                      </a:r>
                    </a:p>
                  </a:txBody>
                  <a:tcPr/>
                </a:tc>
                <a:extLst>
                  <a:ext uri="{0D108BD9-81ED-4DB2-BD59-A6C34878D82A}">
                    <a16:rowId xmlns:a16="http://schemas.microsoft.com/office/drawing/2014/main" val="10006"/>
                  </a:ext>
                </a:extLst>
              </a:tr>
              <a:tr h="11334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Native SFDC integr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Native integration into Sales, Service and Marketing Cloud to extend the power of NBA and journey optimization to additional salesforce products</a:t>
                      </a:r>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No Such integration available.</a:t>
                      </a:r>
                    </a:p>
                  </a:txBody>
                  <a:tcPr/>
                </a:tc>
                <a:tc>
                  <a:txBody>
                    <a:bodyPr/>
                    <a:lstStyle/>
                    <a:p>
                      <a:r>
                        <a:rPr lang="en-US" sz="1400" dirty="0"/>
                        <a:t>No such integration available.</a:t>
                      </a:r>
                    </a:p>
                  </a:txBody>
                  <a:tcPr/>
                </a:tc>
                <a:extLst>
                  <a:ext uri="{0D108BD9-81ED-4DB2-BD59-A6C34878D82A}">
                    <a16:rowId xmlns:a16="http://schemas.microsoft.com/office/drawing/2014/main" val="1213881845"/>
                  </a:ext>
                </a:extLst>
              </a:tr>
            </a:tbl>
          </a:graphicData>
        </a:graphic>
      </p:graphicFrame>
    </p:spTree>
    <p:extLst>
      <p:ext uri="{BB962C8B-B14F-4D97-AF65-F5344CB8AC3E}">
        <p14:creationId xmlns:p14="http://schemas.microsoft.com/office/powerpoint/2010/main" val="4347658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194FC-9155-4F00-9B02-4A065B79DB6F}"/>
              </a:ext>
            </a:extLst>
          </p:cNvPr>
          <p:cNvSpPr>
            <a:spLocks noGrp="1"/>
          </p:cNvSpPr>
          <p:nvPr>
            <p:ph type="title"/>
          </p:nvPr>
        </p:nvSpPr>
        <p:spPr/>
        <p:txBody>
          <a:bodyPr/>
          <a:lstStyle/>
          <a:p>
            <a:r>
              <a:rPr lang="en-US" dirty="0"/>
              <a:t>Additional Resources </a:t>
            </a:r>
          </a:p>
        </p:txBody>
      </p:sp>
      <p:sp>
        <p:nvSpPr>
          <p:cNvPr id="55" name="Text Placeholder 54">
            <a:extLst>
              <a:ext uri="{FF2B5EF4-FFF2-40B4-BE49-F238E27FC236}">
                <a16:creationId xmlns:a16="http://schemas.microsoft.com/office/drawing/2014/main" id="{BAD98991-B0ED-4C3F-A3FC-C23E0910764F}"/>
              </a:ext>
            </a:extLst>
          </p:cNvPr>
          <p:cNvSpPr>
            <a:spLocks noGrp="1"/>
          </p:cNvSpPr>
          <p:nvPr>
            <p:ph type="body" sz="quarter" idx="14"/>
          </p:nvPr>
        </p:nvSpPr>
        <p:spPr/>
        <p:txBody>
          <a:bodyPr/>
          <a:lstStyle/>
          <a:p>
            <a:r>
              <a:rPr lang="en-US" dirty="0"/>
              <a:t>To learn more about Interaction Studio (Evergage) or access other useful resources for your pursuits or client engagements, please visit the following. </a:t>
            </a:r>
          </a:p>
          <a:p>
            <a:endParaRPr lang="en-US" dirty="0"/>
          </a:p>
        </p:txBody>
      </p:sp>
      <p:sp>
        <p:nvSpPr>
          <p:cNvPr id="3" name="Rectangle 2">
            <a:extLst>
              <a:ext uri="{FF2B5EF4-FFF2-40B4-BE49-F238E27FC236}">
                <a16:creationId xmlns:a16="http://schemas.microsoft.com/office/drawing/2014/main" id="{F3855209-53AC-4766-B808-CF1D2A25F02E}"/>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 name="Rectangle 3">
            <a:extLst>
              <a:ext uri="{FF2B5EF4-FFF2-40B4-BE49-F238E27FC236}">
                <a16:creationId xmlns:a16="http://schemas.microsoft.com/office/drawing/2014/main" id="{D4007F62-6B41-426E-BFB7-7242036D6E5C}"/>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graphicFrame>
        <p:nvGraphicFramePr>
          <p:cNvPr id="6" name="Table 6">
            <a:extLst>
              <a:ext uri="{FF2B5EF4-FFF2-40B4-BE49-F238E27FC236}">
                <a16:creationId xmlns:a16="http://schemas.microsoft.com/office/drawing/2014/main" id="{45262B38-5A0E-4950-92CB-99CD096730D4}"/>
              </a:ext>
            </a:extLst>
          </p:cNvPr>
          <p:cNvGraphicFramePr>
            <a:graphicFrameLocks noGrp="1"/>
          </p:cNvGraphicFramePr>
          <p:nvPr/>
        </p:nvGraphicFramePr>
        <p:xfrm>
          <a:off x="878316" y="1898984"/>
          <a:ext cx="9977038" cy="2936240"/>
        </p:xfrm>
        <a:graphic>
          <a:graphicData uri="http://schemas.openxmlformats.org/drawingml/2006/table">
            <a:tbl>
              <a:tblPr firstRow="1" bandRow="1">
                <a:tableStyleId>{7DF18680-E054-41AD-8BC1-D1AEF772440D}</a:tableStyleId>
              </a:tblPr>
              <a:tblGrid>
                <a:gridCol w="4988519">
                  <a:extLst>
                    <a:ext uri="{9D8B030D-6E8A-4147-A177-3AD203B41FA5}">
                      <a16:colId xmlns:a16="http://schemas.microsoft.com/office/drawing/2014/main" val="3436140567"/>
                    </a:ext>
                  </a:extLst>
                </a:gridCol>
                <a:gridCol w="4988519">
                  <a:extLst>
                    <a:ext uri="{9D8B030D-6E8A-4147-A177-3AD203B41FA5}">
                      <a16:colId xmlns:a16="http://schemas.microsoft.com/office/drawing/2014/main" val="3979878055"/>
                    </a:ext>
                  </a:extLst>
                </a:gridCol>
              </a:tblGrid>
              <a:tr h="370840">
                <a:tc>
                  <a:txBody>
                    <a:bodyPr/>
                    <a:lstStyle/>
                    <a:p>
                      <a:r>
                        <a:rPr lang="en-US" dirty="0"/>
                        <a:t>Resource</a:t>
                      </a:r>
                    </a:p>
                  </a:txBody>
                  <a:tcPr/>
                </a:tc>
                <a:tc>
                  <a:txBody>
                    <a:bodyPr/>
                    <a:lstStyle/>
                    <a:p>
                      <a:r>
                        <a:rPr lang="en-US" dirty="0"/>
                        <a:t>Description</a:t>
                      </a:r>
                    </a:p>
                  </a:txBody>
                  <a:tcPr/>
                </a:tc>
                <a:extLst>
                  <a:ext uri="{0D108BD9-81ED-4DB2-BD59-A6C34878D82A}">
                    <a16:rowId xmlns:a16="http://schemas.microsoft.com/office/drawing/2014/main" val="2426692120"/>
                  </a:ext>
                </a:extLst>
              </a:tr>
              <a:tr h="370840">
                <a:tc>
                  <a:txBody>
                    <a:bodyPr/>
                    <a:lstStyle/>
                    <a:p>
                      <a:r>
                        <a:rPr lang="en-US" sz="1400" dirty="0"/>
                        <a:t>www.doc.evergage.com</a:t>
                      </a:r>
                    </a:p>
                  </a:txBody>
                  <a:tcPr/>
                </a:tc>
                <a:tc>
                  <a:txBody>
                    <a:bodyPr/>
                    <a:lstStyle/>
                    <a:p>
                      <a:r>
                        <a:rPr lang="en-US" sz="1400" dirty="0"/>
                        <a:t>For in depth documentation on various parts of the platform, use cases, upcoming features, retired features, etc. provided by Salesforce </a:t>
                      </a:r>
                    </a:p>
                  </a:txBody>
                  <a:tcPr/>
                </a:tc>
                <a:extLst>
                  <a:ext uri="{0D108BD9-81ED-4DB2-BD59-A6C34878D82A}">
                    <a16:rowId xmlns:a16="http://schemas.microsoft.com/office/drawing/2014/main" val="2939910764"/>
                  </a:ext>
                </a:extLst>
              </a:tr>
              <a:tr h="370840">
                <a:tc>
                  <a:txBody>
                    <a:bodyPr/>
                    <a:lstStyle/>
                    <a:p>
                      <a:r>
                        <a:rPr lang="en-US" sz="1400" dirty="0"/>
                        <a:t>www.developer.evergage.com</a:t>
                      </a:r>
                    </a:p>
                  </a:txBody>
                  <a:tcPr/>
                </a:tc>
                <a:tc>
                  <a:txBody>
                    <a:bodyPr/>
                    <a:lstStyle/>
                    <a:p>
                      <a:r>
                        <a:rPr lang="en-US" sz="1400" dirty="0"/>
                        <a:t>For additional technical documentation provided by Salesforce </a:t>
                      </a:r>
                    </a:p>
                  </a:txBody>
                  <a:tcPr/>
                </a:tc>
                <a:extLst>
                  <a:ext uri="{0D108BD9-81ED-4DB2-BD59-A6C34878D82A}">
                    <a16:rowId xmlns:a16="http://schemas.microsoft.com/office/drawing/2014/main" val="1772042540"/>
                  </a:ext>
                </a:extLst>
              </a:tr>
              <a:tr h="370840">
                <a:tc>
                  <a:txBody>
                    <a:bodyPr/>
                    <a:lstStyle/>
                    <a:p>
                      <a:r>
                        <a:rPr lang="en-US" sz="1400" dirty="0">
                          <a:hlinkClick r:id="rId3"/>
                        </a:rPr>
                        <a:t>MT&amp;I RT Orchestration Platforms Channel</a:t>
                      </a:r>
                      <a:r>
                        <a:rPr lang="en-US" sz="1400" dirty="0"/>
                        <a:t> (linked)</a:t>
                      </a:r>
                    </a:p>
                  </a:txBody>
                  <a:tcPr/>
                </a:tc>
                <a:tc>
                  <a:txBody>
                    <a:bodyPr/>
                    <a:lstStyle/>
                    <a:p>
                      <a:r>
                        <a:rPr lang="en-US" sz="1400" dirty="0"/>
                        <a:t>Documentation leveraged at other clients, pursuit materials, training materials from prior Salesforce trainings, etc. Please use this channel to ask any questions that you may encounter</a:t>
                      </a:r>
                    </a:p>
                  </a:txBody>
                  <a:tcPr/>
                </a:tc>
                <a:extLst>
                  <a:ext uri="{0D108BD9-81ED-4DB2-BD59-A6C34878D82A}">
                    <a16:rowId xmlns:a16="http://schemas.microsoft.com/office/drawing/2014/main" val="4158215459"/>
                  </a:ext>
                </a:extLst>
              </a:tr>
              <a:tr h="370840">
                <a:tc>
                  <a:txBody>
                    <a:bodyPr/>
                    <a:lstStyle/>
                    <a:p>
                      <a:r>
                        <a:rPr lang="en-US" sz="1400" dirty="0">
                          <a:hlinkClick r:id="rId4"/>
                        </a:rPr>
                        <a:t>Implementation Guide </a:t>
                      </a:r>
                      <a:r>
                        <a:rPr lang="en-US" sz="1400" dirty="0"/>
                        <a:t>(linked)</a:t>
                      </a:r>
                    </a:p>
                  </a:txBody>
                  <a:tcPr/>
                </a:tc>
                <a:tc>
                  <a:txBody>
                    <a:bodyPr/>
                    <a:lstStyle/>
                    <a:p>
                      <a:r>
                        <a:rPr lang="en-US" sz="1400" dirty="0"/>
                        <a:t>Deep dive of materials that were covered during this presentation with additional documentation and videos by Salesforce</a:t>
                      </a:r>
                    </a:p>
                    <a:p>
                      <a:r>
                        <a:rPr lang="en-US" sz="1400" dirty="0"/>
                        <a:t>Password for all videos is </a:t>
                      </a:r>
                      <a:r>
                        <a:rPr lang="en-US" sz="1400" i="1" dirty="0"/>
                        <a:t>Salesforce</a:t>
                      </a:r>
                      <a:r>
                        <a:rPr lang="en-US" sz="1400" dirty="0"/>
                        <a:t> </a:t>
                      </a:r>
                    </a:p>
                  </a:txBody>
                  <a:tcPr/>
                </a:tc>
                <a:extLst>
                  <a:ext uri="{0D108BD9-81ED-4DB2-BD59-A6C34878D82A}">
                    <a16:rowId xmlns:a16="http://schemas.microsoft.com/office/drawing/2014/main" val="1209743748"/>
                  </a:ext>
                </a:extLst>
              </a:tr>
            </a:tbl>
          </a:graphicData>
        </a:graphic>
      </p:graphicFrame>
    </p:spTree>
    <p:extLst>
      <p:ext uri="{BB962C8B-B14F-4D97-AF65-F5344CB8AC3E}">
        <p14:creationId xmlns:p14="http://schemas.microsoft.com/office/powerpoint/2010/main" val="2688332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0">
            <a:extLst>
              <a:ext uri="{FF2B5EF4-FFF2-40B4-BE49-F238E27FC236}">
                <a16:creationId xmlns:a16="http://schemas.microsoft.com/office/drawing/2014/main" id="{54F0E06A-7E06-4475-B31E-2EC43034958C}"/>
              </a:ext>
            </a:extLst>
          </p:cNvPr>
          <p:cNvSpPr txBox="1">
            <a:spLocks/>
          </p:cNvSpPr>
          <p:nvPr/>
        </p:nvSpPr>
        <p:spPr>
          <a:xfrm>
            <a:off x="-1" y="165101"/>
            <a:ext cx="12191999" cy="409330"/>
          </a:xfrm>
          <a:prstGeom prst="rect">
            <a:avLst/>
          </a:prstGeom>
          <a:solidFill>
            <a:schemeClr val="tx1"/>
          </a:solidFill>
        </p:spPr>
        <p:txBody>
          <a:bodyPr vert="horz" lIns="0" tIns="45720" rIns="0" bIns="0" rtlCol="0" anchor="b" anchorCtr="0">
            <a:noAutofit/>
          </a:bodyPr>
          <a:lstStyle>
            <a:lvl1pPr algn="l" defTabSz="914400" rtl="0" eaLnBrk="1" latinLnBrk="0" hangingPunct="1">
              <a:lnSpc>
                <a:spcPct val="90000"/>
              </a:lnSpc>
              <a:spcBef>
                <a:spcPct val="0"/>
              </a:spcBef>
              <a:buNone/>
              <a:defRPr lang="en-US" sz="3600" b="0" kern="1200" spc="-75" dirty="0">
                <a:solidFill>
                  <a:schemeClr val="tx1"/>
                </a:solidFill>
                <a:latin typeface="+mj-lt"/>
                <a:ea typeface="+mj-ea"/>
                <a:cs typeface="+mj-cs"/>
              </a:defRPr>
            </a:lvl1pPr>
          </a:lstStyle>
          <a:p>
            <a:pPr algn="ctr"/>
            <a:r>
              <a:rPr lang="en-US" sz="2800" b="1" dirty="0">
                <a:solidFill>
                  <a:schemeClr val="bg1"/>
                </a:solidFill>
              </a:rPr>
              <a:t>Agenda</a:t>
            </a:r>
          </a:p>
        </p:txBody>
      </p:sp>
      <p:pic>
        <p:nvPicPr>
          <p:cNvPr id="28" name="Picture 27">
            <a:extLst>
              <a:ext uri="{FF2B5EF4-FFF2-40B4-BE49-F238E27FC236}">
                <a16:creationId xmlns:a16="http://schemas.microsoft.com/office/drawing/2014/main" id="{A407B2AF-0953-4E9A-9E22-D7A08F8B0195}"/>
              </a:ext>
            </a:extLst>
          </p:cNvPr>
          <p:cNvPicPr>
            <a:picLocks noChangeAspect="1"/>
          </p:cNvPicPr>
          <p:nvPr/>
        </p:nvPicPr>
        <p:blipFill>
          <a:blip r:embed="rId3"/>
          <a:stretch>
            <a:fillRect/>
          </a:stretch>
        </p:blipFill>
        <p:spPr>
          <a:xfrm>
            <a:off x="337678" y="6426731"/>
            <a:ext cx="3133725" cy="238125"/>
          </a:xfrm>
          <a:prstGeom prst="rect">
            <a:avLst/>
          </a:prstGeom>
        </p:spPr>
      </p:pic>
      <p:sp>
        <p:nvSpPr>
          <p:cNvPr id="12" name="TextBox 11">
            <a:extLst>
              <a:ext uri="{FF2B5EF4-FFF2-40B4-BE49-F238E27FC236}">
                <a16:creationId xmlns:a16="http://schemas.microsoft.com/office/drawing/2014/main" id="{921809B3-E3D8-4A62-8065-2A9B911B9EC5}"/>
              </a:ext>
            </a:extLst>
          </p:cNvPr>
          <p:cNvSpPr txBox="1"/>
          <p:nvPr/>
        </p:nvSpPr>
        <p:spPr>
          <a:xfrm>
            <a:off x="522720" y="1290136"/>
            <a:ext cx="5897366" cy="4420890"/>
          </a:xfrm>
          <a:prstGeom prst="rect">
            <a:avLst/>
          </a:prstGeom>
          <a:noFill/>
        </p:spPr>
        <p:txBody>
          <a:bodyPr wrap="square" rtlCol="0">
            <a:spAutoFit/>
          </a:bodyPr>
          <a:lstStyle/>
          <a:p>
            <a:pPr marL="285750" indent="-285750">
              <a:lnSpc>
                <a:spcPct val="200000"/>
              </a:lnSpc>
              <a:buFont typeface="Arial" panose="020B0604020202020204" pitchFamily="34" charset="0"/>
              <a:buChar char="•"/>
            </a:pPr>
            <a:r>
              <a:rPr lang="en-US" sz="2400" b="1" dirty="0"/>
              <a:t>Interaction Studio Introduction.</a:t>
            </a:r>
          </a:p>
          <a:p>
            <a:pPr marL="285750" indent="-285750">
              <a:lnSpc>
                <a:spcPct val="200000"/>
              </a:lnSpc>
              <a:buFont typeface="Arial" panose="020B0604020202020204" pitchFamily="34" charset="0"/>
              <a:buChar char="•"/>
            </a:pPr>
            <a:r>
              <a:rPr lang="en-US" sz="2400" b="1" dirty="0"/>
              <a:t>IS Top Use Cases</a:t>
            </a:r>
          </a:p>
          <a:p>
            <a:pPr marL="285750" indent="-285750">
              <a:lnSpc>
                <a:spcPct val="200000"/>
              </a:lnSpc>
              <a:buFont typeface="Arial" panose="020B0604020202020204" pitchFamily="34" charset="0"/>
              <a:buChar char="•"/>
            </a:pPr>
            <a:r>
              <a:rPr lang="en-US" sz="2400" b="1" dirty="0"/>
              <a:t>Offerings</a:t>
            </a:r>
          </a:p>
          <a:p>
            <a:pPr marL="285750" indent="-285750">
              <a:lnSpc>
                <a:spcPct val="200000"/>
              </a:lnSpc>
              <a:buFont typeface="Arial" panose="020B0604020202020204" pitchFamily="34" charset="0"/>
              <a:buChar char="•"/>
            </a:pPr>
            <a:r>
              <a:rPr lang="en-US" sz="2400" b="1" dirty="0"/>
              <a:t>IS’s Key Components</a:t>
            </a:r>
          </a:p>
          <a:p>
            <a:pPr marL="285750" indent="-285750">
              <a:lnSpc>
                <a:spcPct val="200000"/>
              </a:lnSpc>
              <a:buFont typeface="Arial" panose="020B0604020202020204" pitchFamily="34" charset="0"/>
              <a:buChar char="•"/>
            </a:pPr>
            <a:r>
              <a:rPr lang="en-US" sz="2400" b="1" dirty="0"/>
              <a:t>Best Practices</a:t>
            </a:r>
          </a:p>
          <a:p>
            <a:pPr marL="285750" indent="-285750">
              <a:lnSpc>
                <a:spcPct val="200000"/>
              </a:lnSpc>
              <a:buFont typeface="Arial" panose="020B0604020202020204" pitchFamily="34" charset="0"/>
              <a:buChar char="•"/>
            </a:pPr>
            <a:r>
              <a:rPr lang="en-US" sz="2400" b="1" dirty="0"/>
              <a:t>Key Learnings</a:t>
            </a:r>
          </a:p>
        </p:txBody>
      </p:sp>
    </p:spTree>
    <p:extLst>
      <p:ext uri="{BB962C8B-B14F-4D97-AF65-F5344CB8AC3E}">
        <p14:creationId xmlns:p14="http://schemas.microsoft.com/office/powerpoint/2010/main" val="396133187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0">
            <a:extLst>
              <a:ext uri="{FF2B5EF4-FFF2-40B4-BE49-F238E27FC236}">
                <a16:creationId xmlns:a16="http://schemas.microsoft.com/office/drawing/2014/main" id="{54F0E06A-7E06-4475-B31E-2EC43034958C}"/>
              </a:ext>
            </a:extLst>
          </p:cNvPr>
          <p:cNvSpPr txBox="1">
            <a:spLocks/>
          </p:cNvSpPr>
          <p:nvPr/>
        </p:nvSpPr>
        <p:spPr>
          <a:xfrm>
            <a:off x="-1" y="165101"/>
            <a:ext cx="12191999" cy="409330"/>
          </a:xfrm>
          <a:prstGeom prst="rect">
            <a:avLst/>
          </a:prstGeom>
          <a:solidFill>
            <a:schemeClr val="tx1"/>
          </a:solidFill>
        </p:spPr>
        <p:txBody>
          <a:bodyPr vert="horz" lIns="0" tIns="45720" rIns="0" bIns="0" rtlCol="0" anchor="b" anchorCtr="0">
            <a:noAutofit/>
          </a:bodyPr>
          <a:lstStyle>
            <a:lvl1pPr algn="l" defTabSz="914400" rtl="0" eaLnBrk="1" latinLnBrk="0" hangingPunct="1">
              <a:lnSpc>
                <a:spcPct val="90000"/>
              </a:lnSpc>
              <a:spcBef>
                <a:spcPct val="0"/>
              </a:spcBef>
              <a:buNone/>
              <a:defRPr lang="en-US" sz="3600" b="0" kern="1200" spc="-75" dirty="0">
                <a:solidFill>
                  <a:schemeClr val="tx1"/>
                </a:solidFill>
                <a:latin typeface="+mj-lt"/>
                <a:ea typeface="+mj-ea"/>
                <a:cs typeface="+mj-cs"/>
              </a:defRPr>
            </a:lvl1pPr>
          </a:lstStyle>
          <a:p>
            <a:pPr algn="ctr"/>
            <a:r>
              <a:rPr lang="en-US" sz="2800" b="1" dirty="0">
                <a:solidFill>
                  <a:schemeClr val="bg1"/>
                </a:solidFill>
              </a:rPr>
              <a:t>Introduction</a:t>
            </a:r>
          </a:p>
        </p:txBody>
      </p:sp>
      <p:pic>
        <p:nvPicPr>
          <p:cNvPr id="28" name="Picture 27">
            <a:extLst>
              <a:ext uri="{FF2B5EF4-FFF2-40B4-BE49-F238E27FC236}">
                <a16:creationId xmlns:a16="http://schemas.microsoft.com/office/drawing/2014/main" id="{A407B2AF-0953-4E9A-9E22-D7A08F8B0195}"/>
              </a:ext>
            </a:extLst>
          </p:cNvPr>
          <p:cNvPicPr>
            <a:picLocks noChangeAspect="1"/>
          </p:cNvPicPr>
          <p:nvPr/>
        </p:nvPicPr>
        <p:blipFill>
          <a:blip r:embed="rId3"/>
          <a:stretch>
            <a:fillRect/>
          </a:stretch>
        </p:blipFill>
        <p:spPr>
          <a:xfrm>
            <a:off x="337678" y="6426731"/>
            <a:ext cx="3133725" cy="238125"/>
          </a:xfrm>
          <a:prstGeom prst="rect">
            <a:avLst/>
          </a:prstGeom>
        </p:spPr>
      </p:pic>
      <p:grpSp>
        <p:nvGrpSpPr>
          <p:cNvPr id="4" name="Group 3">
            <a:extLst>
              <a:ext uri="{FF2B5EF4-FFF2-40B4-BE49-F238E27FC236}">
                <a16:creationId xmlns:a16="http://schemas.microsoft.com/office/drawing/2014/main" id="{4BF4AF3D-CFA7-4566-AD8F-7F8BB8A4ECA7}"/>
              </a:ext>
            </a:extLst>
          </p:cNvPr>
          <p:cNvGrpSpPr/>
          <p:nvPr/>
        </p:nvGrpSpPr>
        <p:grpSpPr>
          <a:xfrm>
            <a:off x="750013" y="2013769"/>
            <a:ext cx="10856358" cy="4272380"/>
            <a:chOff x="616098" y="1624986"/>
            <a:chExt cx="11685043" cy="4678373"/>
          </a:xfrm>
        </p:grpSpPr>
        <p:sp>
          <p:nvSpPr>
            <p:cNvPr id="5" name="object 16">
              <a:extLst>
                <a:ext uri="{FF2B5EF4-FFF2-40B4-BE49-F238E27FC236}">
                  <a16:creationId xmlns:a16="http://schemas.microsoft.com/office/drawing/2014/main" id="{1960326E-DE47-4119-ADE3-094B323B79BC}"/>
                </a:ext>
              </a:extLst>
            </p:cNvPr>
            <p:cNvSpPr/>
            <p:nvPr/>
          </p:nvSpPr>
          <p:spPr>
            <a:xfrm>
              <a:off x="3867326" y="1809393"/>
              <a:ext cx="3791824" cy="4493966"/>
            </a:xfrm>
            <a:custGeom>
              <a:avLst/>
              <a:gdLst/>
              <a:ahLst/>
              <a:cxnLst/>
              <a:rect l="l" t="t" r="r" b="b"/>
              <a:pathLst>
                <a:path w="1673860" h="1160145">
                  <a:moveTo>
                    <a:pt x="0" y="1159763"/>
                  </a:moveTo>
                  <a:lnTo>
                    <a:pt x="1673352" y="1159763"/>
                  </a:lnTo>
                  <a:lnTo>
                    <a:pt x="1673352" y="0"/>
                  </a:lnTo>
                  <a:lnTo>
                    <a:pt x="0" y="0"/>
                  </a:lnTo>
                  <a:lnTo>
                    <a:pt x="0" y="1159763"/>
                  </a:lnTo>
                  <a:close/>
                </a:path>
              </a:pathLst>
            </a:custGeom>
            <a:solidFill>
              <a:schemeClr val="bg1"/>
            </a:solidFill>
            <a:ln w="1905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6" name="object 16">
              <a:extLst>
                <a:ext uri="{FF2B5EF4-FFF2-40B4-BE49-F238E27FC236}">
                  <a16:creationId xmlns:a16="http://schemas.microsoft.com/office/drawing/2014/main" id="{591BB866-0B7B-4E2C-A98A-3DCB33F8C694}"/>
                </a:ext>
              </a:extLst>
            </p:cNvPr>
            <p:cNvSpPr/>
            <p:nvPr/>
          </p:nvSpPr>
          <p:spPr>
            <a:xfrm>
              <a:off x="616098" y="1818553"/>
              <a:ext cx="2907278" cy="4484806"/>
            </a:xfrm>
            <a:custGeom>
              <a:avLst/>
              <a:gdLst/>
              <a:ahLst/>
              <a:cxnLst/>
              <a:rect l="l" t="t" r="r" b="b"/>
              <a:pathLst>
                <a:path w="1673860" h="1160145">
                  <a:moveTo>
                    <a:pt x="0" y="1159763"/>
                  </a:moveTo>
                  <a:lnTo>
                    <a:pt x="1673352" y="1159763"/>
                  </a:lnTo>
                  <a:lnTo>
                    <a:pt x="1673352" y="0"/>
                  </a:lnTo>
                  <a:lnTo>
                    <a:pt x="0" y="0"/>
                  </a:lnTo>
                  <a:lnTo>
                    <a:pt x="0" y="1159763"/>
                  </a:lnTo>
                  <a:close/>
                </a:path>
              </a:pathLst>
            </a:custGeom>
            <a:solidFill>
              <a:schemeClr val="bg1"/>
            </a:solidFill>
            <a:ln w="1905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7" name="object 16">
              <a:extLst>
                <a:ext uri="{FF2B5EF4-FFF2-40B4-BE49-F238E27FC236}">
                  <a16:creationId xmlns:a16="http://schemas.microsoft.com/office/drawing/2014/main" id="{FC78E216-D20B-4BA1-8E86-E0F1089E54CE}"/>
                </a:ext>
              </a:extLst>
            </p:cNvPr>
            <p:cNvSpPr/>
            <p:nvPr/>
          </p:nvSpPr>
          <p:spPr>
            <a:xfrm>
              <a:off x="8003097" y="1809393"/>
              <a:ext cx="3605224" cy="4493966"/>
            </a:xfrm>
            <a:custGeom>
              <a:avLst/>
              <a:gdLst/>
              <a:ahLst/>
              <a:cxnLst/>
              <a:rect l="l" t="t" r="r" b="b"/>
              <a:pathLst>
                <a:path w="1673860" h="1160145">
                  <a:moveTo>
                    <a:pt x="0" y="1159763"/>
                  </a:moveTo>
                  <a:lnTo>
                    <a:pt x="1673352" y="1159763"/>
                  </a:lnTo>
                  <a:lnTo>
                    <a:pt x="1673352" y="0"/>
                  </a:lnTo>
                  <a:lnTo>
                    <a:pt x="0" y="0"/>
                  </a:lnTo>
                  <a:lnTo>
                    <a:pt x="0" y="1159763"/>
                  </a:lnTo>
                  <a:close/>
                </a:path>
              </a:pathLst>
            </a:custGeom>
            <a:solidFill>
              <a:schemeClr val="bg1"/>
            </a:solidFill>
            <a:ln w="19050">
              <a:solidFill>
                <a:srgbClr val="FCD2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8" name="object 16">
              <a:extLst>
                <a:ext uri="{FF2B5EF4-FFF2-40B4-BE49-F238E27FC236}">
                  <a16:creationId xmlns:a16="http://schemas.microsoft.com/office/drawing/2014/main" id="{AD2984EA-E7DC-4AAD-AE56-4D51FD9A44F5}"/>
                </a:ext>
              </a:extLst>
            </p:cNvPr>
            <p:cNvSpPr/>
            <p:nvPr/>
          </p:nvSpPr>
          <p:spPr>
            <a:xfrm>
              <a:off x="847110" y="1637142"/>
              <a:ext cx="2436902" cy="374596"/>
            </a:xfrm>
            <a:custGeom>
              <a:avLst/>
              <a:gdLst/>
              <a:ahLst/>
              <a:cxnLst/>
              <a:rect l="l" t="t" r="r" b="b"/>
              <a:pathLst>
                <a:path w="1673860" h="1160145">
                  <a:moveTo>
                    <a:pt x="0" y="1159763"/>
                  </a:moveTo>
                  <a:lnTo>
                    <a:pt x="1673352" y="1159763"/>
                  </a:lnTo>
                  <a:lnTo>
                    <a:pt x="1673352" y="0"/>
                  </a:lnTo>
                  <a:lnTo>
                    <a:pt x="0" y="0"/>
                  </a:lnTo>
                  <a:lnTo>
                    <a:pt x="0" y="1159763"/>
                  </a:lnTo>
                  <a:close/>
                </a:path>
              </a:pathLst>
            </a:custGeom>
            <a:solidFill>
              <a:schemeClr val="accent1">
                <a:lumMod val="20000"/>
                <a:lumOff val="80000"/>
              </a:schemeClr>
            </a:solidFill>
            <a:ln w="3810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9" name="object 19">
              <a:extLst>
                <a:ext uri="{FF2B5EF4-FFF2-40B4-BE49-F238E27FC236}">
                  <a16:creationId xmlns:a16="http://schemas.microsoft.com/office/drawing/2014/main" id="{C3BE6ABA-F0AE-40E9-BB13-7AC79237978B}"/>
                </a:ext>
              </a:extLst>
            </p:cNvPr>
            <p:cNvSpPr/>
            <p:nvPr/>
          </p:nvSpPr>
          <p:spPr>
            <a:xfrm>
              <a:off x="4066758" y="1660019"/>
              <a:ext cx="3392899" cy="379585"/>
            </a:xfrm>
            <a:custGeom>
              <a:avLst/>
              <a:gdLst/>
              <a:ahLst/>
              <a:cxnLst/>
              <a:rect l="l" t="t" r="r" b="b"/>
              <a:pathLst>
                <a:path w="1675129" h="1160145">
                  <a:moveTo>
                    <a:pt x="0" y="1159763"/>
                  </a:moveTo>
                  <a:lnTo>
                    <a:pt x="1674876" y="1159763"/>
                  </a:lnTo>
                  <a:lnTo>
                    <a:pt x="1674876" y="0"/>
                  </a:lnTo>
                  <a:lnTo>
                    <a:pt x="0" y="0"/>
                  </a:lnTo>
                  <a:lnTo>
                    <a:pt x="0" y="1159763"/>
                  </a:lnTo>
                  <a:close/>
                </a:path>
              </a:pathLst>
            </a:custGeom>
            <a:solidFill>
              <a:schemeClr val="accent2">
                <a:lumMod val="20000"/>
                <a:lumOff val="80000"/>
              </a:schemeClr>
            </a:solidFill>
            <a:ln w="38100">
              <a:solidFill>
                <a:schemeClr val="accent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10" name="object 22">
              <a:extLst>
                <a:ext uri="{FF2B5EF4-FFF2-40B4-BE49-F238E27FC236}">
                  <a16:creationId xmlns:a16="http://schemas.microsoft.com/office/drawing/2014/main" id="{91E74304-6110-4781-B44B-653024D4BD3B}"/>
                </a:ext>
              </a:extLst>
            </p:cNvPr>
            <p:cNvSpPr/>
            <p:nvPr/>
          </p:nvSpPr>
          <p:spPr>
            <a:xfrm>
              <a:off x="8160190" y="1624986"/>
              <a:ext cx="3299172" cy="383099"/>
            </a:xfrm>
            <a:custGeom>
              <a:avLst/>
              <a:gdLst/>
              <a:ahLst/>
              <a:cxnLst/>
              <a:rect l="l" t="t" r="r" b="b"/>
              <a:pathLst>
                <a:path w="1673859" h="1160145">
                  <a:moveTo>
                    <a:pt x="0" y="1159763"/>
                  </a:moveTo>
                  <a:lnTo>
                    <a:pt x="1673352" y="1159763"/>
                  </a:lnTo>
                  <a:lnTo>
                    <a:pt x="1673352" y="0"/>
                  </a:lnTo>
                  <a:lnTo>
                    <a:pt x="0" y="0"/>
                  </a:lnTo>
                  <a:lnTo>
                    <a:pt x="0" y="1159763"/>
                  </a:lnTo>
                  <a:close/>
                </a:path>
              </a:pathLst>
            </a:custGeom>
            <a:solidFill>
              <a:srgbClr val="FFEFC1"/>
            </a:solidFill>
            <a:ln w="38100">
              <a:solidFill>
                <a:srgbClr val="FCD2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grpSp>
          <p:nvGrpSpPr>
            <p:cNvPr id="11" name="Group 10">
              <a:extLst>
                <a:ext uri="{FF2B5EF4-FFF2-40B4-BE49-F238E27FC236}">
                  <a16:creationId xmlns:a16="http://schemas.microsoft.com/office/drawing/2014/main" id="{5DF83F99-34F5-4626-BA1E-EFAD1C346AD6}"/>
                </a:ext>
              </a:extLst>
            </p:cNvPr>
            <p:cNvGrpSpPr/>
            <p:nvPr/>
          </p:nvGrpSpPr>
          <p:grpSpPr>
            <a:xfrm>
              <a:off x="746612" y="2304639"/>
              <a:ext cx="552808" cy="553212"/>
              <a:chOff x="6401943" y="4131070"/>
              <a:chExt cx="552808" cy="553212"/>
            </a:xfrm>
            <a:solidFill>
              <a:schemeClr val="accent1"/>
            </a:solidFill>
          </p:grpSpPr>
          <p:sp>
            <p:nvSpPr>
              <p:cNvPr id="94" name="Freeform 25">
                <a:extLst>
                  <a:ext uri="{FF2B5EF4-FFF2-40B4-BE49-F238E27FC236}">
                    <a16:creationId xmlns:a16="http://schemas.microsoft.com/office/drawing/2014/main" id="{106E10A3-48EB-415A-A06C-43E11E3872B2}"/>
                  </a:ext>
                </a:extLst>
              </p:cNvPr>
              <p:cNvSpPr/>
              <p:nvPr/>
            </p:nvSpPr>
            <p:spPr>
              <a:xfrm>
                <a:off x="6401943" y="4131070"/>
                <a:ext cx="552808" cy="553212"/>
              </a:xfrm>
              <a:custGeom>
                <a:avLst/>
                <a:gdLst>
                  <a:gd name="connsiteX0" fmla="*/ 276404 w 552808"/>
                  <a:gd name="connsiteY0" fmla="*/ 553212 h 553212"/>
                  <a:gd name="connsiteX1" fmla="*/ 0 w 552808"/>
                  <a:gd name="connsiteY1" fmla="*/ 276606 h 553212"/>
                  <a:gd name="connsiteX2" fmla="*/ 276404 w 552808"/>
                  <a:gd name="connsiteY2" fmla="*/ 0 h 553212"/>
                  <a:gd name="connsiteX3" fmla="*/ 552809 w 552808"/>
                  <a:gd name="connsiteY3" fmla="*/ 276606 h 553212"/>
                  <a:gd name="connsiteX4" fmla="*/ 276404 w 552808"/>
                  <a:gd name="connsiteY4" fmla="*/ 553212 h 553212"/>
                  <a:gd name="connsiteX5" fmla="*/ 276404 w 552808"/>
                  <a:gd name="connsiteY5" fmla="*/ 23051 h 553212"/>
                  <a:gd name="connsiteX6" fmla="*/ 23034 w 552808"/>
                  <a:gd name="connsiteY6" fmla="*/ 276606 h 553212"/>
                  <a:gd name="connsiteX7" fmla="*/ 276404 w 552808"/>
                  <a:gd name="connsiteY7" fmla="*/ 530162 h 553212"/>
                  <a:gd name="connsiteX8" fmla="*/ 529775 w 552808"/>
                  <a:gd name="connsiteY8" fmla="*/ 276606 h 553212"/>
                  <a:gd name="connsiteX9" fmla="*/ 276404 w 552808"/>
                  <a:gd name="connsiteY9" fmla="*/ 23051 h 553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808" h="553212">
                    <a:moveTo>
                      <a:pt x="276404" y="553212"/>
                    </a:moveTo>
                    <a:cubicBezTo>
                      <a:pt x="123748" y="553212"/>
                      <a:pt x="0" y="429373"/>
                      <a:pt x="0" y="276606"/>
                    </a:cubicBezTo>
                    <a:cubicBezTo>
                      <a:pt x="0" y="123839"/>
                      <a:pt x="123748" y="0"/>
                      <a:pt x="276404" y="0"/>
                    </a:cubicBezTo>
                    <a:cubicBezTo>
                      <a:pt x="429060" y="0"/>
                      <a:pt x="552809" y="123839"/>
                      <a:pt x="552809" y="276606"/>
                    </a:cubicBezTo>
                    <a:cubicBezTo>
                      <a:pt x="552809" y="429373"/>
                      <a:pt x="429060" y="553212"/>
                      <a:pt x="276404" y="553212"/>
                    </a:cubicBezTo>
                    <a:close/>
                    <a:moveTo>
                      <a:pt x="276404" y="23051"/>
                    </a:moveTo>
                    <a:cubicBezTo>
                      <a:pt x="136474" y="23051"/>
                      <a:pt x="23034" y="136574"/>
                      <a:pt x="23034" y="276606"/>
                    </a:cubicBezTo>
                    <a:cubicBezTo>
                      <a:pt x="23034" y="416638"/>
                      <a:pt x="136474" y="530162"/>
                      <a:pt x="276404" y="530162"/>
                    </a:cubicBezTo>
                    <a:cubicBezTo>
                      <a:pt x="416334" y="530162"/>
                      <a:pt x="529775" y="416638"/>
                      <a:pt x="529775" y="276606"/>
                    </a:cubicBezTo>
                    <a:cubicBezTo>
                      <a:pt x="529775" y="136574"/>
                      <a:pt x="416334" y="23051"/>
                      <a:pt x="276404" y="23051"/>
                    </a:cubicBezTo>
                    <a:close/>
                  </a:path>
                </a:pathLst>
              </a:custGeom>
              <a:grpFill/>
              <a:ln w="115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95" name="Freeform 396">
                <a:extLst>
                  <a:ext uri="{FF2B5EF4-FFF2-40B4-BE49-F238E27FC236}">
                    <a16:creationId xmlns:a16="http://schemas.microsoft.com/office/drawing/2014/main" id="{051602F2-5480-45B2-BFC7-5FAB2AB2CC9B}"/>
                  </a:ext>
                </a:extLst>
              </p:cNvPr>
              <p:cNvSpPr/>
              <p:nvPr/>
            </p:nvSpPr>
            <p:spPr>
              <a:xfrm>
                <a:off x="6528628" y="4401913"/>
                <a:ext cx="299438" cy="69152"/>
              </a:xfrm>
              <a:custGeom>
                <a:avLst/>
                <a:gdLst>
                  <a:gd name="connsiteX0" fmla="*/ 149719 w 299437"/>
                  <a:gd name="connsiteY0" fmla="*/ 69152 h 69151"/>
                  <a:gd name="connsiteX1" fmla="*/ 0 w 299437"/>
                  <a:gd name="connsiteY1" fmla="*/ 11525 h 69151"/>
                  <a:gd name="connsiteX2" fmla="*/ 11517 w 299437"/>
                  <a:gd name="connsiteY2" fmla="*/ 0 h 69151"/>
                  <a:gd name="connsiteX3" fmla="*/ 23034 w 299437"/>
                  <a:gd name="connsiteY3" fmla="*/ 11525 h 69151"/>
                  <a:gd name="connsiteX4" fmla="*/ 149719 w 299437"/>
                  <a:gd name="connsiteY4" fmla="*/ 46101 h 69151"/>
                  <a:gd name="connsiteX5" fmla="*/ 276404 w 299437"/>
                  <a:gd name="connsiteY5" fmla="*/ 11525 h 69151"/>
                  <a:gd name="connsiteX6" fmla="*/ 287921 w 299437"/>
                  <a:gd name="connsiteY6" fmla="*/ 0 h 69151"/>
                  <a:gd name="connsiteX7" fmla="*/ 299438 w 299437"/>
                  <a:gd name="connsiteY7" fmla="*/ 11525 h 69151"/>
                  <a:gd name="connsiteX8" fmla="*/ 149719 w 299437"/>
                  <a:gd name="connsiteY8" fmla="*/ 69152 h 6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9437" h="69151">
                    <a:moveTo>
                      <a:pt x="149719" y="69152"/>
                    </a:moveTo>
                    <a:cubicBezTo>
                      <a:pt x="75320" y="69152"/>
                      <a:pt x="0" y="49328"/>
                      <a:pt x="0" y="11525"/>
                    </a:cubicBezTo>
                    <a:cubicBezTo>
                      <a:pt x="0" y="5163"/>
                      <a:pt x="5160" y="0"/>
                      <a:pt x="11517" y="0"/>
                    </a:cubicBezTo>
                    <a:cubicBezTo>
                      <a:pt x="17874" y="0"/>
                      <a:pt x="23034" y="5163"/>
                      <a:pt x="23034" y="11525"/>
                    </a:cubicBezTo>
                    <a:cubicBezTo>
                      <a:pt x="23034" y="23051"/>
                      <a:pt x="67719" y="46101"/>
                      <a:pt x="149719" y="46101"/>
                    </a:cubicBezTo>
                    <a:cubicBezTo>
                      <a:pt x="231719" y="46101"/>
                      <a:pt x="276404" y="23051"/>
                      <a:pt x="276404" y="11525"/>
                    </a:cubicBezTo>
                    <a:cubicBezTo>
                      <a:pt x="276404" y="5163"/>
                      <a:pt x="281564" y="0"/>
                      <a:pt x="287921" y="0"/>
                    </a:cubicBezTo>
                    <a:cubicBezTo>
                      <a:pt x="294278" y="0"/>
                      <a:pt x="299438" y="5163"/>
                      <a:pt x="299438" y="11525"/>
                    </a:cubicBezTo>
                    <a:cubicBezTo>
                      <a:pt x="299438" y="49328"/>
                      <a:pt x="224118" y="69152"/>
                      <a:pt x="149719" y="69152"/>
                    </a:cubicBezTo>
                    <a:close/>
                  </a:path>
                </a:pathLst>
              </a:custGeom>
              <a:grpFill/>
              <a:ln w="115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96" name="Freeform 397">
                <a:extLst>
                  <a:ext uri="{FF2B5EF4-FFF2-40B4-BE49-F238E27FC236}">
                    <a16:creationId xmlns:a16="http://schemas.microsoft.com/office/drawing/2014/main" id="{ACB2BD3A-4410-4710-BD7C-74D662C4C0E5}"/>
                  </a:ext>
                </a:extLst>
              </p:cNvPr>
              <p:cNvSpPr/>
              <p:nvPr/>
            </p:nvSpPr>
            <p:spPr>
              <a:xfrm>
                <a:off x="6528628" y="4234791"/>
                <a:ext cx="299438" cy="115253"/>
              </a:xfrm>
              <a:custGeom>
                <a:avLst/>
                <a:gdLst>
                  <a:gd name="connsiteX0" fmla="*/ 149719 w 299437"/>
                  <a:gd name="connsiteY0" fmla="*/ 115259 h 115252"/>
                  <a:gd name="connsiteX1" fmla="*/ 0 w 299437"/>
                  <a:gd name="connsiteY1" fmla="*/ 57633 h 115252"/>
                  <a:gd name="connsiteX2" fmla="*/ 149719 w 299437"/>
                  <a:gd name="connsiteY2" fmla="*/ 7 h 115252"/>
                  <a:gd name="connsiteX3" fmla="*/ 213522 w 299437"/>
                  <a:gd name="connsiteY3" fmla="*/ 5078 h 115252"/>
                  <a:gd name="connsiteX4" fmla="*/ 223139 w 299437"/>
                  <a:gd name="connsiteY4" fmla="*/ 18505 h 115252"/>
                  <a:gd name="connsiteX5" fmla="*/ 209722 w 299437"/>
                  <a:gd name="connsiteY5" fmla="*/ 28128 h 115252"/>
                  <a:gd name="connsiteX6" fmla="*/ 149719 w 299437"/>
                  <a:gd name="connsiteY6" fmla="*/ 23057 h 115252"/>
                  <a:gd name="connsiteX7" fmla="*/ 23034 w 299437"/>
                  <a:gd name="connsiteY7" fmla="*/ 57633 h 115252"/>
                  <a:gd name="connsiteX8" fmla="*/ 149719 w 299437"/>
                  <a:gd name="connsiteY8" fmla="*/ 92209 h 115252"/>
                  <a:gd name="connsiteX9" fmla="*/ 276404 w 299437"/>
                  <a:gd name="connsiteY9" fmla="*/ 57633 h 115252"/>
                  <a:gd name="connsiteX10" fmla="*/ 242891 w 299437"/>
                  <a:gd name="connsiteY10" fmla="*/ 35620 h 115252"/>
                  <a:gd name="connsiteX11" fmla="*/ 236061 w 299437"/>
                  <a:gd name="connsiteY11" fmla="*/ 20821 h 115252"/>
                  <a:gd name="connsiteX12" fmla="*/ 250031 w 299437"/>
                  <a:gd name="connsiteY12" fmla="*/ 13722 h 115252"/>
                  <a:gd name="connsiteX13" fmla="*/ 299438 w 299437"/>
                  <a:gd name="connsiteY13" fmla="*/ 57633 h 115252"/>
                  <a:gd name="connsiteX14" fmla="*/ 149719 w 299437"/>
                  <a:gd name="connsiteY14" fmla="*/ 115259 h 11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9437" h="115252">
                    <a:moveTo>
                      <a:pt x="149719" y="115259"/>
                    </a:moveTo>
                    <a:cubicBezTo>
                      <a:pt x="75320" y="115259"/>
                      <a:pt x="0" y="95436"/>
                      <a:pt x="0" y="57633"/>
                    </a:cubicBezTo>
                    <a:cubicBezTo>
                      <a:pt x="0" y="19830"/>
                      <a:pt x="75320" y="7"/>
                      <a:pt x="149719" y="7"/>
                    </a:cubicBezTo>
                    <a:cubicBezTo>
                      <a:pt x="171094" y="-120"/>
                      <a:pt x="192435" y="1574"/>
                      <a:pt x="213522" y="5078"/>
                    </a:cubicBezTo>
                    <a:cubicBezTo>
                      <a:pt x="219879" y="6127"/>
                      <a:pt x="224187" y="12143"/>
                      <a:pt x="223139" y="18505"/>
                    </a:cubicBezTo>
                    <a:cubicBezTo>
                      <a:pt x="222091" y="24867"/>
                      <a:pt x="216079" y="29177"/>
                      <a:pt x="209722" y="28128"/>
                    </a:cubicBezTo>
                    <a:cubicBezTo>
                      <a:pt x="189901" y="24740"/>
                      <a:pt x="169827" y="23045"/>
                      <a:pt x="149719" y="23057"/>
                    </a:cubicBezTo>
                    <a:cubicBezTo>
                      <a:pt x="67719" y="23057"/>
                      <a:pt x="23034" y="46108"/>
                      <a:pt x="23034" y="57633"/>
                    </a:cubicBezTo>
                    <a:cubicBezTo>
                      <a:pt x="23034" y="69158"/>
                      <a:pt x="67719" y="92209"/>
                      <a:pt x="149719" y="92209"/>
                    </a:cubicBezTo>
                    <a:cubicBezTo>
                      <a:pt x="231719" y="92209"/>
                      <a:pt x="276404" y="69158"/>
                      <a:pt x="276404" y="57633"/>
                    </a:cubicBezTo>
                    <a:cubicBezTo>
                      <a:pt x="276404" y="53830"/>
                      <a:pt x="269379" y="44379"/>
                      <a:pt x="242891" y="35620"/>
                    </a:cubicBezTo>
                    <a:cubicBezTo>
                      <a:pt x="236925" y="33418"/>
                      <a:pt x="233861" y="26791"/>
                      <a:pt x="236061" y="20821"/>
                    </a:cubicBezTo>
                    <a:cubicBezTo>
                      <a:pt x="238145" y="15162"/>
                      <a:pt x="244237" y="12062"/>
                      <a:pt x="250031" y="13722"/>
                    </a:cubicBezTo>
                    <a:cubicBezTo>
                      <a:pt x="290916" y="27091"/>
                      <a:pt x="299438" y="44955"/>
                      <a:pt x="299438" y="57633"/>
                    </a:cubicBezTo>
                    <a:cubicBezTo>
                      <a:pt x="299438" y="95436"/>
                      <a:pt x="224118" y="115259"/>
                      <a:pt x="149719" y="115259"/>
                    </a:cubicBezTo>
                    <a:close/>
                  </a:path>
                </a:pathLst>
              </a:custGeom>
              <a:grpFill/>
              <a:ln w="115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97" name="Freeform 403">
                <a:extLst>
                  <a:ext uri="{FF2B5EF4-FFF2-40B4-BE49-F238E27FC236}">
                    <a16:creationId xmlns:a16="http://schemas.microsoft.com/office/drawing/2014/main" id="{D5521C02-B314-412C-A847-4A022BAA3D15}"/>
                  </a:ext>
                </a:extLst>
              </p:cNvPr>
              <p:cNvSpPr/>
              <p:nvPr/>
            </p:nvSpPr>
            <p:spPr>
              <a:xfrm>
                <a:off x="6528628" y="4280898"/>
                <a:ext cx="23034" cy="265081"/>
              </a:xfrm>
              <a:custGeom>
                <a:avLst/>
                <a:gdLst>
                  <a:gd name="connsiteX0" fmla="*/ 11517 w 23033"/>
                  <a:gd name="connsiteY0" fmla="*/ 265081 h 265080"/>
                  <a:gd name="connsiteX1" fmla="*/ 0 w 23033"/>
                  <a:gd name="connsiteY1" fmla="*/ 253556 h 265080"/>
                  <a:gd name="connsiteX2" fmla="*/ 0 w 23033"/>
                  <a:gd name="connsiteY2" fmla="*/ 11525 h 265080"/>
                  <a:gd name="connsiteX3" fmla="*/ 11517 w 23033"/>
                  <a:gd name="connsiteY3" fmla="*/ 0 h 265080"/>
                  <a:gd name="connsiteX4" fmla="*/ 23034 w 23033"/>
                  <a:gd name="connsiteY4" fmla="*/ 11525 h 265080"/>
                  <a:gd name="connsiteX5" fmla="*/ 23034 w 23033"/>
                  <a:gd name="connsiteY5" fmla="*/ 253556 h 265080"/>
                  <a:gd name="connsiteX6" fmla="*/ 11517 w 23033"/>
                  <a:gd name="connsiteY6" fmla="*/ 265081 h 26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3" h="265080">
                    <a:moveTo>
                      <a:pt x="11517" y="265081"/>
                    </a:moveTo>
                    <a:cubicBezTo>
                      <a:pt x="5160" y="265081"/>
                      <a:pt x="0" y="259917"/>
                      <a:pt x="0" y="253556"/>
                    </a:cubicBezTo>
                    <a:lnTo>
                      <a:pt x="0" y="11525"/>
                    </a:lnTo>
                    <a:cubicBezTo>
                      <a:pt x="0" y="5163"/>
                      <a:pt x="5160" y="0"/>
                      <a:pt x="11517" y="0"/>
                    </a:cubicBezTo>
                    <a:cubicBezTo>
                      <a:pt x="17874" y="0"/>
                      <a:pt x="23034" y="5163"/>
                      <a:pt x="23034" y="11525"/>
                    </a:cubicBezTo>
                    <a:lnTo>
                      <a:pt x="23034" y="253556"/>
                    </a:lnTo>
                    <a:cubicBezTo>
                      <a:pt x="23034" y="259917"/>
                      <a:pt x="17874" y="265081"/>
                      <a:pt x="11517" y="265081"/>
                    </a:cubicBezTo>
                    <a:close/>
                  </a:path>
                </a:pathLst>
              </a:custGeom>
              <a:grpFill/>
              <a:ln w="115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98" name="Freeform 404">
                <a:extLst>
                  <a:ext uri="{FF2B5EF4-FFF2-40B4-BE49-F238E27FC236}">
                    <a16:creationId xmlns:a16="http://schemas.microsoft.com/office/drawing/2014/main" id="{9611F516-2E6F-4A42-A1CF-0C677447069B}"/>
                  </a:ext>
                </a:extLst>
              </p:cNvPr>
              <p:cNvSpPr/>
              <p:nvPr/>
            </p:nvSpPr>
            <p:spPr>
              <a:xfrm>
                <a:off x="6805033" y="4280898"/>
                <a:ext cx="23034" cy="265081"/>
              </a:xfrm>
              <a:custGeom>
                <a:avLst/>
                <a:gdLst>
                  <a:gd name="connsiteX0" fmla="*/ 11517 w 23033"/>
                  <a:gd name="connsiteY0" fmla="*/ 265081 h 265080"/>
                  <a:gd name="connsiteX1" fmla="*/ 0 w 23033"/>
                  <a:gd name="connsiteY1" fmla="*/ 253556 h 265080"/>
                  <a:gd name="connsiteX2" fmla="*/ 0 w 23033"/>
                  <a:gd name="connsiteY2" fmla="*/ 11525 h 265080"/>
                  <a:gd name="connsiteX3" fmla="*/ 11517 w 23033"/>
                  <a:gd name="connsiteY3" fmla="*/ 0 h 265080"/>
                  <a:gd name="connsiteX4" fmla="*/ 23034 w 23033"/>
                  <a:gd name="connsiteY4" fmla="*/ 11525 h 265080"/>
                  <a:gd name="connsiteX5" fmla="*/ 23034 w 23033"/>
                  <a:gd name="connsiteY5" fmla="*/ 253556 h 265080"/>
                  <a:gd name="connsiteX6" fmla="*/ 11517 w 23033"/>
                  <a:gd name="connsiteY6" fmla="*/ 265081 h 26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3" h="265080">
                    <a:moveTo>
                      <a:pt x="11517" y="265081"/>
                    </a:moveTo>
                    <a:cubicBezTo>
                      <a:pt x="5160" y="265081"/>
                      <a:pt x="0" y="259917"/>
                      <a:pt x="0" y="253556"/>
                    </a:cubicBezTo>
                    <a:lnTo>
                      <a:pt x="0" y="11525"/>
                    </a:lnTo>
                    <a:cubicBezTo>
                      <a:pt x="0" y="5163"/>
                      <a:pt x="5160" y="0"/>
                      <a:pt x="11517" y="0"/>
                    </a:cubicBezTo>
                    <a:cubicBezTo>
                      <a:pt x="17874" y="0"/>
                      <a:pt x="23034" y="5163"/>
                      <a:pt x="23034" y="11525"/>
                    </a:cubicBezTo>
                    <a:lnTo>
                      <a:pt x="23034" y="253556"/>
                    </a:lnTo>
                    <a:cubicBezTo>
                      <a:pt x="23034" y="259917"/>
                      <a:pt x="17874" y="265081"/>
                      <a:pt x="11517" y="265081"/>
                    </a:cubicBezTo>
                    <a:close/>
                  </a:path>
                </a:pathLst>
              </a:custGeom>
              <a:grpFill/>
              <a:ln w="115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99" name="Freeform 405">
                <a:extLst>
                  <a:ext uri="{FF2B5EF4-FFF2-40B4-BE49-F238E27FC236}">
                    <a16:creationId xmlns:a16="http://schemas.microsoft.com/office/drawing/2014/main" id="{83973001-6821-4E8C-BB31-51A821E1A051}"/>
                  </a:ext>
                </a:extLst>
              </p:cNvPr>
              <p:cNvSpPr/>
              <p:nvPr/>
            </p:nvSpPr>
            <p:spPr>
              <a:xfrm>
                <a:off x="6604770" y="4522929"/>
                <a:ext cx="218820" cy="69152"/>
              </a:xfrm>
              <a:custGeom>
                <a:avLst/>
                <a:gdLst>
                  <a:gd name="connsiteX0" fmla="*/ 73577 w 218820"/>
                  <a:gd name="connsiteY0" fmla="*/ 69152 h 69151"/>
                  <a:gd name="connsiteX1" fmla="*/ 9774 w 218820"/>
                  <a:gd name="connsiteY1" fmla="*/ 64080 h 69151"/>
                  <a:gd name="connsiteX2" fmla="*/ 157 w 218820"/>
                  <a:gd name="connsiteY2" fmla="*/ 50653 h 69151"/>
                  <a:gd name="connsiteX3" fmla="*/ 13574 w 218820"/>
                  <a:gd name="connsiteY3" fmla="*/ 41030 h 69151"/>
                  <a:gd name="connsiteX4" fmla="*/ 73577 w 218820"/>
                  <a:gd name="connsiteY4" fmla="*/ 46101 h 69151"/>
                  <a:gd name="connsiteX5" fmla="*/ 200262 w 218820"/>
                  <a:gd name="connsiteY5" fmla="*/ 11525 h 69151"/>
                  <a:gd name="connsiteX6" fmla="*/ 211779 w 218820"/>
                  <a:gd name="connsiteY6" fmla="*/ 0 h 69151"/>
                  <a:gd name="connsiteX7" fmla="*/ 223296 w 218820"/>
                  <a:gd name="connsiteY7" fmla="*/ 11525 h 69151"/>
                  <a:gd name="connsiteX8" fmla="*/ 73577 w 218820"/>
                  <a:gd name="connsiteY8" fmla="*/ 69152 h 6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820" h="69151">
                    <a:moveTo>
                      <a:pt x="73577" y="69152"/>
                    </a:moveTo>
                    <a:cubicBezTo>
                      <a:pt x="52201" y="69278"/>
                      <a:pt x="30861" y="67584"/>
                      <a:pt x="9774" y="64080"/>
                    </a:cubicBezTo>
                    <a:cubicBezTo>
                      <a:pt x="3417" y="63032"/>
                      <a:pt x="-891" y="57015"/>
                      <a:pt x="157" y="50653"/>
                    </a:cubicBezTo>
                    <a:cubicBezTo>
                      <a:pt x="1205" y="44291"/>
                      <a:pt x="7217" y="39981"/>
                      <a:pt x="13574" y="41030"/>
                    </a:cubicBezTo>
                    <a:cubicBezTo>
                      <a:pt x="33395" y="44418"/>
                      <a:pt x="53469" y="46113"/>
                      <a:pt x="73577" y="46101"/>
                    </a:cubicBezTo>
                    <a:cubicBezTo>
                      <a:pt x="155577" y="46101"/>
                      <a:pt x="200262" y="23051"/>
                      <a:pt x="200262" y="11525"/>
                    </a:cubicBezTo>
                    <a:cubicBezTo>
                      <a:pt x="200262" y="5163"/>
                      <a:pt x="205422" y="0"/>
                      <a:pt x="211779" y="0"/>
                    </a:cubicBezTo>
                    <a:cubicBezTo>
                      <a:pt x="218136" y="0"/>
                      <a:pt x="223296" y="5163"/>
                      <a:pt x="223296" y="11525"/>
                    </a:cubicBezTo>
                    <a:cubicBezTo>
                      <a:pt x="223296" y="49328"/>
                      <a:pt x="147976" y="69152"/>
                      <a:pt x="73577" y="69152"/>
                    </a:cubicBezTo>
                    <a:close/>
                  </a:path>
                </a:pathLst>
              </a:custGeom>
              <a:grpFill/>
              <a:ln w="115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100" name="Freeform 408">
                <a:extLst>
                  <a:ext uri="{FF2B5EF4-FFF2-40B4-BE49-F238E27FC236}">
                    <a16:creationId xmlns:a16="http://schemas.microsoft.com/office/drawing/2014/main" id="{CAFCC06E-49FA-4AF3-8C2A-6E8B2B3633C4}"/>
                  </a:ext>
                </a:extLst>
              </p:cNvPr>
              <p:cNvSpPr/>
              <p:nvPr/>
            </p:nvSpPr>
            <p:spPr>
              <a:xfrm>
                <a:off x="6528628" y="4522929"/>
                <a:ext cx="57584" cy="46101"/>
              </a:xfrm>
              <a:custGeom>
                <a:avLst/>
                <a:gdLst>
                  <a:gd name="connsiteX0" fmla="*/ 52977 w 57584"/>
                  <a:gd name="connsiteY0" fmla="*/ 56013 h 46101"/>
                  <a:gd name="connsiteX1" fmla="*/ 49407 w 57584"/>
                  <a:gd name="connsiteY1" fmla="*/ 55436 h 46101"/>
                  <a:gd name="connsiteX2" fmla="*/ 0 w 57584"/>
                  <a:gd name="connsiteY2" fmla="*/ 11525 h 46101"/>
                  <a:gd name="connsiteX3" fmla="*/ 11517 w 57584"/>
                  <a:gd name="connsiteY3" fmla="*/ 0 h 46101"/>
                  <a:gd name="connsiteX4" fmla="*/ 23034 w 57584"/>
                  <a:gd name="connsiteY4" fmla="*/ 11525 h 46101"/>
                  <a:gd name="connsiteX5" fmla="*/ 56547 w 57584"/>
                  <a:gd name="connsiteY5" fmla="*/ 33539 h 46101"/>
                  <a:gd name="connsiteX6" fmla="*/ 63918 w 57584"/>
                  <a:gd name="connsiteY6" fmla="*/ 48060 h 46101"/>
                  <a:gd name="connsiteX7" fmla="*/ 52977 w 57584"/>
                  <a:gd name="connsiteY7" fmla="*/ 56013 h 46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84" h="46101">
                    <a:moveTo>
                      <a:pt x="52977" y="56013"/>
                    </a:moveTo>
                    <a:cubicBezTo>
                      <a:pt x="51768" y="55990"/>
                      <a:pt x="50559" y="55794"/>
                      <a:pt x="49407" y="55436"/>
                    </a:cubicBezTo>
                    <a:cubicBezTo>
                      <a:pt x="8522" y="42067"/>
                      <a:pt x="0" y="24203"/>
                      <a:pt x="0" y="11525"/>
                    </a:cubicBezTo>
                    <a:cubicBezTo>
                      <a:pt x="0" y="5163"/>
                      <a:pt x="5160" y="0"/>
                      <a:pt x="11517" y="0"/>
                    </a:cubicBezTo>
                    <a:cubicBezTo>
                      <a:pt x="17874" y="0"/>
                      <a:pt x="23034" y="5163"/>
                      <a:pt x="23034" y="11525"/>
                    </a:cubicBezTo>
                    <a:cubicBezTo>
                      <a:pt x="23034" y="15328"/>
                      <a:pt x="30059" y="24779"/>
                      <a:pt x="56547" y="33539"/>
                    </a:cubicBezTo>
                    <a:cubicBezTo>
                      <a:pt x="62583" y="35521"/>
                      <a:pt x="65888" y="42009"/>
                      <a:pt x="63918" y="48060"/>
                    </a:cubicBezTo>
                    <a:cubicBezTo>
                      <a:pt x="62375" y="52797"/>
                      <a:pt x="57965" y="56013"/>
                      <a:pt x="52977" y="56013"/>
                    </a:cubicBezTo>
                    <a:close/>
                  </a:path>
                </a:pathLst>
              </a:custGeom>
              <a:grpFill/>
              <a:ln w="115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grpSp>
        <p:grpSp>
          <p:nvGrpSpPr>
            <p:cNvPr id="12" name="Group 11">
              <a:extLst>
                <a:ext uri="{FF2B5EF4-FFF2-40B4-BE49-F238E27FC236}">
                  <a16:creationId xmlns:a16="http://schemas.microsoft.com/office/drawing/2014/main" id="{39D7565B-DF73-4940-BA10-C915693B391E}"/>
                </a:ext>
              </a:extLst>
            </p:cNvPr>
            <p:cNvGrpSpPr/>
            <p:nvPr/>
          </p:nvGrpSpPr>
          <p:grpSpPr>
            <a:xfrm>
              <a:off x="746628" y="3611329"/>
              <a:ext cx="552776" cy="553774"/>
              <a:chOff x="8041600" y="1606186"/>
              <a:chExt cx="554182" cy="554586"/>
            </a:xfrm>
            <a:solidFill>
              <a:schemeClr val="accent1"/>
            </a:solidFill>
          </p:grpSpPr>
          <p:sp>
            <p:nvSpPr>
              <p:cNvPr id="91" name="Freeform 331">
                <a:extLst>
                  <a:ext uri="{FF2B5EF4-FFF2-40B4-BE49-F238E27FC236}">
                    <a16:creationId xmlns:a16="http://schemas.microsoft.com/office/drawing/2014/main" id="{B1081312-10DE-4C4E-AD6B-1F0E60435DA2}"/>
                  </a:ext>
                </a:extLst>
              </p:cNvPr>
              <p:cNvSpPr/>
              <p:nvPr/>
            </p:nvSpPr>
            <p:spPr>
              <a:xfrm>
                <a:off x="8041600" y="1606186"/>
                <a:ext cx="554182" cy="554586"/>
              </a:xfrm>
              <a:custGeom>
                <a:avLst/>
                <a:gdLst>
                  <a:gd name="connsiteX0" fmla="*/ 277091 w 554181"/>
                  <a:gd name="connsiteY0" fmla="*/ 554586 h 554586"/>
                  <a:gd name="connsiteX1" fmla="*/ 0 w 554181"/>
                  <a:gd name="connsiteY1" fmla="*/ 277293 h 554586"/>
                  <a:gd name="connsiteX2" fmla="*/ 277091 w 554181"/>
                  <a:gd name="connsiteY2" fmla="*/ 0 h 554586"/>
                  <a:gd name="connsiteX3" fmla="*/ 554182 w 554181"/>
                  <a:gd name="connsiteY3" fmla="*/ 277293 h 554586"/>
                  <a:gd name="connsiteX4" fmla="*/ 277091 w 554181"/>
                  <a:gd name="connsiteY4" fmla="*/ 554586 h 554586"/>
                  <a:gd name="connsiteX5" fmla="*/ 277091 w 554181"/>
                  <a:gd name="connsiteY5" fmla="*/ 23108 h 554586"/>
                  <a:gd name="connsiteX6" fmla="*/ 23091 w 554181"/>
                  <a:gd name="connsiteY6" fmla="*/ 277293 h 554586"/>
                  <a:gd name="connsiteX7" fmla="*/ 277091 w 554181"/>
                  <a:gd name="connsiteY7" fmla="*/ 531479 h 554586"/>
                  <a:gd name="connsiteX8" fmla="*/ 531091 w 554181"/>
                  <a:gd name="connsiteY8" fmla="*/ 277293 h 554586"/>
                  <a:gd name="connsiteX9" fmla="*/ 277091 w 554181"/>
                  <a:gd name="connsiteY9" fmla="*/ 23108 h 554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4181" h="554586">
                    <a:moveTo>
                      <a:pt x="277091" y="554586"/>
                    </a:moveTo>
                    <a:cubicBezTo>
                      <a:pt x="124056" y="554586"/>
                      <a:pt x="0" y="430440"/>
                      <a:pt x="0" y="277293"/>
                    </a:cubicBezTo>
                    <a:cubicBezTo>
                      <a:pt x="0" y="124149"/>
                      <a:pt x="124056" y="0"/>
                      <a:pt x="277091" y="0"/>
                    </a:cubicBezTo>
                    <a:cubicBezTo>
                      <a:pt x="430126" y="0"/>
                      <a:pt x="554182" y="124149"/>
                      <a:pt x="554182" y="277293"/>
                    </a:cubicBezTo>
                    <a:cubicBezTo>
                      <a:pt x="554182" y="430440"/>
                      <a:pt x="430126" y="554586"/>
                      <a:pt x="277091" y="554586"/>
                    </a:cubicBezTo>
                    <a:close/>
                    <a:moveTo>
                      <a:pt x="277091" y="23108"/>
                    </a:moveTo>
                    <a:cubicBezTo>
                      <a:pt x="136813" y="23108"/>
                      <a:pt x="23091" y="136910"/>
                      <a:pt x="23091" y="277293"/>
                    </a:cubicBezTo>
                    <a:cubicBezTo>
                      <a:pt x="23091" y="417673"/>
                      <a:pt x="136813" y="531479"/>
                      <a:pt x="277091" y="531479"/>
                    </a:cubicBezTo>
                    <a:cubicBezTo>
                      <a:pt x="417368" y="531479"/>
                      <a:pt x="531091" y="417673"/>
                      <a:pt x="531091" y="277293"/>
                    </a:cubicBezTo>
                    <a:cubicBezTo>
                      <a:pt x="531091" y="136910"/>
                      <a:pt x="417368" y="23108"/>
                      <a:pt x="277091" y="23108"/>
                    </a:cubicBezTo>
                    <a:close/>
                  </a:path>
                </a:pathLst>
              </a:custGeom>
              <a:grpFill/>
              <a:ln w="115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92" name="Freeform 333">
                <a:extLst>
                  <a:ext uri="{FF2B5EF4-FFF2-40B4-BE49-F238E27FC236}">
                    <a16:creationId xmlns:a16="http://schemas.microsoft.com/office/drawing/2014/main" id="{83C2EFF4-F15C-4531-B50A-C8C219167577}"/>
                  </a:ext>
                </a:extLst>
              </p:cNvPr>
              <p:cNvSpPr/>
              <p:nvPr/>
            </p:nvSpPr>
            <p:spPr>
              <a:xfrm>
                <a:off x="8214136" y="1661885"/>
                <a:ext cx="207818" cy="358170"/>
              </a:xfrm>
              <a:custGeom>
                <a:avLst/>
                <a:gdLst>
                  <a:gd name="connsiteX0" fmla="*/ 139653 w 207818"/>
                  <a:gd name="connsiteY0" fmla="*/ 368560 h 358170"/>
                  <a:gd name="connsiteX1" fmla="*/ 69456 w 207818"/>
                  <a:gd name="connsiteY1" fmla="*/ 368560 h 358170"/>
                  <a:gd name="connsiteX2" fmla="*/ 52023 w 207818"/>
                  <a:gd name="connsiteY2" fmla="*/ 348687 h 358170"/>
                  <a:gd name="connsiteX3" fmla="*/ 51099 w 207818"/>
                  <a:gd name="connsiteY3" fmla="*/ 329161 h 358170"/>
                  <a:gd name="connsiteX4" fmla="*/ 48906 w 207818"/>
                  <a:gd name="connsiteY4" fmla="*/ 298081 h 358170"/>
                  <a:gd name="connsiteX5" fmla="*/ 32049 w 207818"/>
                  <a:gd name="connsiteY5" fmla="*/ 257873 h 358170"/>
                  <a:gd name="connsiteX6" fmla="*/ 19234 w 207818"/>
                  <a:gd name="connsiteY6" fmla="*/ 247013 h 358170"/>
                  <a:gd name="connsiteX7" fmla="*/ 6880 w 207818"/>
                  <a:gd name="connsiteY7" fmla="*/ 236845 h 358170"/>
                  <a:gd name="connsiteX8" fmla="*/ 299 w 207818"/>
                  <a:gd name="connsiteY8" fmla="*/ 213738 h 358170"/>
                  <a:gd name="connsiteX9" fmla="*/ 299 w 207818"/>
                  <a:gd name="connsiteY9" fmla="*/ 212351 h 358170"/>
                  <a:gd name="connsiteX10" fmla="*/ 3185 w 207818"/>
                  <a:gd name="connsiteY10" fmla="*/ 189243 h 358170"/>
                  <a:gd name="connsiteX11" fmla="*/ 9766 w 207818"/>
                  <a:gd name="connsiteY11" fmla="*/ 177689 h 358170"/>
                  <a:gd name="connsiteX12" fmla="*/ 19234 w 207818"/>
                  <a:gd name="connsiteY12" fmla="*/ 168793 h 358170"/>
                  <a:gd name="connsiteX13" fmla="*/ 30779 w 207818"/>
                  <a:gd name="connsiteY13" fmla="*/ 162669 h 358170"/>
                  <a:gd name="connsiteX14" fmla="*/ 42325 w 207818"/>
                  <a:gd name="connsiteY14" fmla="*/ 158510 h 358170"/>
                  <a:gd name="connsiteX15" fmla="*/ 54678 w 207818"/>
                  <a:gd name="connsiteY15" fmla="*/ 155853 h 358170"/>
                  <a:gd name="connsiteX16" fmla="*/ 66224 w 207818"/>
                  <a:gd name="connsiteY16" fmla="*/ 154120 h 358170"/>
                  <a:gd name="connsiteX17" fmla="*/ 41632 w 207818"/>
                  <a:gd name="connsiteY17" fmla="*/ 101318 h 358170"/>
                  <a:gd name="connsiteX18" fmla="*/ 51792 w 207818"/>
                  <a:gd name="connsiteY18" fmla="*/ 23792 h 358170"/>
                  <a:gd name="connsiteX19" fmla="*/ 152710 w 207818"/>
                  <a:gd name="connsiteY19" fmla="*/ 18256 h 358170"/>
                  <a:gd name="connsiteX20" fmla="*/ 158241 w 207818"/>
                  <a:gd name="connsiteY20" fmla="*/ 23792 h 358170"/>
                  <a:gd name="connsiteX21" fmla="*/ 168401 w 207818"/>
                  <a:gd name="connsiteY21" fmla="*/ 101318 h 358170"/>
                  <a:gd name="connsiteX22" fmla="*/ 143463 w 207818"/>
                  <a:gd name="connsiteY22" fmla="*/ 152964 h 358170"/>
                  <a:gd name="connsiteX23" fmla="*/ 155008 w 207818"/>
                  <a:gd name="connsiteY23" fmla="*/ 154697 h 358170"/>
                  <a:gd name="connsiteX24" fmla="*/ 167362 w 207818"/>
                  <a:gd name="connsiteY24" fmla="*/ 157355 h 358170"/>
                  <a:gd name="connsiteX25" fmla="*/ 178908 w 207818"/>
                  <a:gd name="connsiteY25" fmla="*/ 161514 h 358170"/>
                  <a:gd name="connsiteX26" fmla="*/ 190453 w 207818"/>
                  <a:gd name="connsiteY26" fmla="*/ 167638 h 358170"/>
                  <a:gd name="connsiteX27" fmla="*/ 199920 w 207818"/>
                  <a:gd name="connsiteY27" fmla="*/ 176534 h 358170"/>
                  <a:gd name="connsiteX28" fmla="*/ 206501 w 207818"/>
                  <a:gd name="connsiteY28" fmla="*/ 188088 h 358170"/>
                  <a:gd name="connsiteX29" fmla="*/ 209388 w 207818"/>
                  <a:gd name="connsiteY29" fmla="*/ 211196 h 358170"/>
                  <a:gd name="connsiteX30" fmla="*/ 209388 w 207818"/>
                  <a:gd name="connsiteY30" fmla="*/ 212929 h 358170"/>
                  <a:gd name="connsiteX31" fmla="*/ 202807 w 207818"/>
                  <a:gd name="connsiteY31" fmla="*/ 236037 h 358170"/>
                  <a:gd name="connsiteX32" fmla="*/ 190453 w 207818"/>
                  <a:gd name="connsiteY32" fmla="*/ 246204 h 358170"/>
                  <a:gd name="connsiteX33" fmla="*/ 177753 w 207818"/>
                  <a:gd name="connsiteY33" fmla="*/ 257065 h 358170"/>
                  <a:gd name="connsiteX34" fmla="*/ 160781 w 207818"/>
                  <a:gd name="connsiteY34" fmla="*/ 297272 h 358170"/>
                  <a:gd name="connsiteX35" fmla="*/ 159165 w 207818"/>
                  <a:gd name="connsiteY35" fmla="*/ 316452 h 358170"/>
                  <a:gd name="connsiteX36" fmla="*/ 147042 w 207818"/>
                  <a:gd name="connsiteY36" fmla="*/ 327428 h 358170"/>
                  <a:gd name="connsiteX37" fmla="*/ 136074 w 207818"/>
                  <a:gd name="connsiteY37" fmla="*/ 315296 h 358170"/>
                  <a:gd name="connsiteX38" fmla="*/ 137921 w 207818"/>
                  <a:gd name="connsiteY38" fmla="*/ 294037 h 358170"/>
                  <a:gd name="connsiteX39" fmla="*/ 161012 w 207818"/>
                  <a:gd name="connsiteY39" fmla="*/ 241120 h 358170"/>
                  <a:gd name="connsiteX40" fmla="*/ 176483 w 207818"/>
                  <a:gd name="connsiteY40" fmla="*/ 227833 h 358170"/>
                  <a:gd name="connsiteX41" fmla="*/ 186181 w 207818"/>
                  <a:gd name="connsiteY41" fmla="*/ 219977 h 358170"/>
                  <a:gd name="connsiteX42" fmla="*/ 186181 w 207818"/>
                  <a:gd name="connsiteY42" fmla="*/ 213738 h 358170"/>
                  <a:gd name="connsiteX43" fmla="*/ 186181 w 207818"/>
                  <a:gd name="connsiteY43" fmla="*/ 212120 h 358170"/>
                  <a:gd name="connsiteX44" fmla="*/ 184565 w 207818"/>
                  <a:gd name="connsiteY44" fmla="*/ 195598 h 358170"/>
                  <a:gd name="connsiteX45" fmla="*/ 181678 w 207818"/>
                  <a:gd name="connsiteY45" fmla="*/ 190399 h 358170"/>
                  <a:gd name="connsiteX46" fmla="*/ 177060 w 207818"/>
                  <a:gd name="connsiteY46" fmla="*/ 186008 h 358170"/>
                  <a:gd name="connsiteX47" fmla="*/ 170133 w 207818"/>
                  <a:gd name="connsiteY47" fmla="*/ 182311 h 358170"/>
                  <a:gd name="connsiteX48" fmla="*/ 161243 w 207818"/>
                  <a:gd name="connsiteY48" fmla="*/ 179191 h 358170"/>
                  <a:gd name="connsiteX49" fmla="*/ 150967 w 207818"/>
                  <a:gd name="connsiteY49" fmla="*/ 176881 h 358170"/>
                  <a:gd name="connsiteX50" fmla="*/ 139422 w 207818"/>
                  <a:gd name="connsiteY50" fmla="*/ 175263 h 358170"/>
                  <a:gd name="connsiteX51" fmla="*/ 127876 w 207818"/>
                  <a:gd name="connsiteY51" fmla="*/ 173992 h 358170"/>
                  <a:gd name="connsiteX52" fmla="*/ 112637 w 207818"/>
                  <a:gd name="connsiteY52" fmla="*/ 172375 h 358170"/>
                  <a:gd name="connsiteX53" fmla="*/ 104670 w 207818"/>
                  <a:gd name="connsiteY53" fmla="*/ 171566 h 358170"/>
                  <a:gd name="connsiteX54" fmla="*/ 96704 w 207818"/>
                  <a:gd name="connsiteY54" fmla="*/ 172375 h 358170"/>
                  <a:gd name="connsiteX55" fmla="*/ 81464 w 207818"/>
                  <a:gd name="connsiteY55" fmla="*/ 173992 h 358170"/>
                  <a:gd name="connsiteX56" fmla="*/ 69918 w 207818"/>
                  <a:gd name="connsiteY56" fmla="*/ 175263 h 358170"/>
                  <a:gd name="connsiteX57" fmla="*/ 58373 w 207818"/>
                  <a:gd name="connsiteY57" fmla="*/ 176881 h 358170"/>
                  <a:gd name="connsiteX58" fmla="*/ 48097 w 207818"/>
                  <a:gd name="connsiteY58" fmla="*/ 179191 h 358170"/>
                  <a:gd name="connsiteX59" fmla="*/ 39207 w 207818"/>
                  <a:gd name="connsiteY59" fmla="*/ 182311 h 358170"/>
                  <a:gd name="connsiteX60" fmla="*/ 32280 w 207818"/>
                  <a:gd name="connsiteY60" fmla="*/ 186008 h 358170"/>
                  <a:gd name="connsiteX61" fmla="*/ 27547 w 207818"/>
                  <a:gd name="connsiteY61" fmla="*/ 190399 h 358170"/>
                  <a:gd name="connsiteX62" fmla="*/ 24775 w 207818"/>
                  <a:gd name="connsiteY62" fmla="*/ 195598 h 358170"/>
                  <a:gd name="connsiteX63" fmla="*/ 23159 w 207818"/>
                  <a:gd name="connsiteY63" fmla="*/ 211658 h 358170"/>
                  <a:gd name="connsiteX64" fmla="*/ 23159 w 207818"/>
                  <a:gd name="connsiteY64" fmla="*/ 213738 h 358170"/>
                  <a:gd name="connsiteX65" fmla="*/ 23159 w 207818"/>
                  <a:gd name="connsiteY65" fmla="*/ 219977 h 358170"/>
                  <a:gd name="connsiteX66" fmla="*/ 32857 w 207818"/>
                  <a:gd name="connsiteY66" fmla="*/ 227833 h 358170"/>
                  <a:gd name="connsiteX67" fmla="*/ 48328 w 207818"/>
                  <a:gd name="connsiteY67" fmla="*/ 241120 h 358170"/>
                  <a:gd name="connsiteX68" fmla="*/ 71419 w 207818"/>
                  <a:gd name="connsiteY68" fmla="*/ 294037 h 358170"/>
                  <a:gd name="connsiteX69" fmla="*/ 73843 w 207818"/>
                  <a:gd name="connsiteY69" fmla="*/ 327543 h 358170"/>
                  <a:gd name="connsiteX70" fmla="*/ 74652 w 207818"/>
                  <a:gd name="connsiteY70" fmla="*/ 344990 h 358170"/>
                  <a:gd name="connsiteX71" fmla="*/ 139307 w 207818"/>
                  <a:gd name="connsiteY71" fmla="*/ 344990 h 358170"/>
                  <a:gd name="connsiteX72" fmla="*/ 150852 w 207818"/>
                  <a:gd name="connsiteY72" fmla="*/ 356544 h 358170"/>
                  <a:gd name="connsiteX73" fmla="*/ 139307 w 207818"/>
                  <a:gd name="connsiteY73" fmla="*/ 368097 h 358170"/>
                  <a:gd name="connsiteX74" fmla="*/ 103746 w 207818"/>
                  <a:gd name="connsiteY74" fmla="*/ 23099 h 358170"/>
                  <a:gd name="connsiteX75" fmla="*/ 69110 w 207818"/>
                  <a:gd name="connsiteY75" fmla="*/ 38350 h 358170"/>
                  <a:gd name="connsiteX76" fmla="*/ 63453 w 207818"/>
                  <a:gd name="connsiteY76" fmla="*/ 96119 h 358170"/>
                  <a:gd name="connsiteX77" fmla="*/ 90816 w 207818"/>
                  <a:gd name="connsiteY77" fmla="*/ 142335 h 358170"/>
                  <a:gd name="connsiteX78" fmla="*/ 101437 w 207818"/>
                  <a:gd name="connsiteY78" fmla="*/ 146494 h 358170"/>
                  <a:gd name="connsiteX79" fmla="*/ 104439 w 207818"/>
                  <a:gd name="connsiteY79" fmla="*/ 147649 h 358170"/>
                  <a:gd name="connsiteX80" fmla="*/ 107441 w 207818"/>
                  <a:gd name="connsiteY80" fmla="*/ 146494 h 358170"/>
                  <a:gd name="connsiteX81" fmla="*/ 117947 w 207818"/>
                  <a:gd name="connsiteY81" fmla="*/ 142335 h 358170"/>
                  <a:gd name="connsiteX82" fmla="*/ 145310 w 207818"/>
                  <a:gd name="connsiteY82" fmla="*/ 96119 h 358170"/>
                  <a:gd name="connsiteX83" fmla="*/ 139653 w 207818"/>
                  <a:gd name="connsiteY83" fmla="*/ 38350 h 358170"/>
                  <a:gd name="connsiteX84" fmla="*/ 105016 w 207818"/>
                  <a:gd name="connsiteY84" fmla="*/ 23099 h 358170"/>
                  <a:gd name="connsiteX85" fmla="*/ 103400 w 207818"/>
                  <a:gd name="connsiteY85" fmla="*/ 23099 h 358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207818" h="358170">
                    <a:moveTo>
                      <a:pt x="139653" y="368560"/>
                    </a:moveTo>
                    <a:lnTo>
                      <a:pt x="69456" y="368560"/>
                    </a:lnTo>
                    <a:cubicBezTo>
                      <a:pt x="59285" y="367647"/>
                      <a:pt x="51607" y="358901"/>
                      <a:pt x="52023" y="348687"/>
                    </a:cubicBezTo>
                    <a:cubicBezTo>
                      <a:pt x="52023" y="342217"/>
                      <a:pt x="51330" y="335631"/>
                      <a:pt x="51099" y="329161"/>
                    </a:cubicBezTo>
                    <a:cubicBezTo>
                      <a:pt x="50972" y="318762"/>
                      <a:pt x="50233" y="308387"/>
                      <a:pt x="48906" y="298081"/>
                    </a:cubicBezTo>
                    <a:cubicBezTo>
                      <a:pt x="47612" y="283246"/>
                      <a:pt x="41724" y="269185"/>
                      <a:pt x="32049" y="257873"/>
                    </a:cubicBezTo>
                    <a:cubicBezTo>
                      <a:pt x="28089" y="253899"/>
                      <a:pt x="23806" y="250271"/>
                      <a:pt x="19234" y="247013"/>
                    </a:cubicBezTo>
                    <a:cubicBezTo>
                      <a:pt x="14951" y="243832"/>
                      <a:pt x="10828" y="240439"/>
                      <a:pt x="6880" y="236845"/>
                    </a:cubicBezTo>
                    <a:cubicBezTo>
                      <a:pt x="1500" y="230428"/>
                      <a:pt x="-890" y="222026"/>
                      <a:pt x="299" y="213738"/>
                    </a:cubicBezTo>
                    <a:lnTo>
                      <a:pt x="299" y="212351"/>
                    </a:lnTo>
                    <a:cubicBezTo>
                      <a:pt x="-47" y="204541"/>
                      <a:pt x="923" y="196728"/>
                      <a:pt x="3185" y="189243"/>
                    </a:cubicBezTo>
                    <a:cubicBezTo>
                      <a:pt x="4710" y="185046"/>
                      <a:pt x="6938" y="181138"/>
                      <a:pt x="9766" y="177689"/>
                    </a:cubicBezTo>
                    <a:cubicBezTo>
                      <a:pt x="12434" y="174239"/>
                      <a:pt x="15620" y="171237"/>
                      <a:pt x="19234" y="168793"/>
                    </a:cubicBezTo>
                    <a:cubicBezTo>
                      <a:pt x="22836" y="166310"/>
                      <a:pt x="26703" y="164255"/>
                      <a:pt x="30779" y="162669"/>
                    </a:cubicBezTo>
                    <a:cubicBezTo>
                      <a:pt x="34532" y="161020"/>
                      <a:pt x="38388" y="159630"/>
                      <a:pt x="42325" y="158510"/>
                    </a:cubicBezTo>
                    <a:cubicBezTo>
                      <a:pt x="46365" y="157470"/>
                      <a:pt x="50522" y="156546"/>
                      <a:pt x="54678" y="155853"/>
                    </a:cubicBezTo>
                    <a:cubicBezTo>
                      <a:pt x="58834" y="155159"/>
                      <a:pt x="62298" y="154582"/>
                      <a:pt x="66224" y="154120"/>
                    </a:cubicBezTo>
                    <a:cubicBezTo>
                      <a:pt x="52969" y="139350"/>
                      <a:pt x="44415" y="120970"/>
                      <a:pt x="41632" y="101318"/>
                    </a:cubicBezTo>
                    <a:cubicBezTo>
                      <a:pt x="33665" y="68159"/>
                      <a:pt x="37013" y="42047"/>
                      <a:pt x="51792" y="23792"/>
                    </a:cubicBezTo>
                    <a:cubicBezTo>
                      <a:pt x="78127" y="-5624"/>
                      <a:pt x="123316" y="-8104"/>
                      <a:pt x="152710" y="18256"/>
                    </a:cubicBezTo>
                    <a:cubicBezTo>
                      <a:pt x="154650" y="19999"/>
                      <a:pt x="156497" y="21847"/>
                      <a:pt x="158241" y="23792"/>
                    </a:cubicBezTo>
                    <a:cubicBezTo>
                      <a:pt x="172904" y="42047"/>
                      <a:pt x="176367" y="68159"/>
                      <a:pt x="168401" y="101318"/>
                    </a:cubicBezTo>
                    <a:cubicBezTo>
                      <a:pt x="165307" y="120601"/>
                      <a:pt x="156636" y="138553"/>
                      <a:pt x="143463" y="152964"/>
                    </a:cubicBezTo>
                    <a:cubicBezTo>
                      <a:pt x="147308" y="153426"/>
                      <a:pt x="151164" y="154004"/>
                      <a:pt x="155008" y="154697"/>
                    </a:cubicBezTo>
                    <a:cubicBezTo>
                      <a:pt x="159165" y="155390"/>
                      <a:pt x="163321" y="156315"/>
                      <a:pt x="167362" y="157355"/>
                    </a:cubicBezTo>
                    <a:cubicBezTo>
                      <a:pt x="171299" y="158492"/>
                      <a:pt x="175155" y="159880"/>
                      <a:pt x="178908" y="161514"/>
                    </a:cubicBezTo>
                    <a:cubicBezTo>
                      <a:pt x="182971" y="163127"/>
                      <a:pt x="186839" y="165180"/>
                      <a:pt x="190453" y="167638"/>
                    </a:cubicBezTo>
                    <a:cubicBezTo>
                      <a:pt x="194032" y="170112"/>
                      <a:pt x="197230" y="173112"/>
                      <a:pt x="199920" y="176534"/>
                    </a:cubicBezTo>
                    <a:cubicBezTo>
                      <a:pt x="202760" y="179983"/>
                      <a:pt x="204977" y="183890"/>
                      <a:pt x="206501" y="188088"/>
                    </a:cubicBezTo>
                    <a:cubicBezTo>
                      <a:pt x="208660" y="195593"/>
                      <a:pt x="209630" y="203390"/>
                      <a:pt x="209388" y="211196"/>
                    </a:cubicBezTo>
                    <a:lnTo>
                      <a:pt x="209388" y="212929"/>
                    </a:lnTo>
                    <a:cubicBezTo>
                      <a:pt x="210703" y="221226"/>
                      <a:pt x="208290" y="229678"/>
                      <a:pt x="202807" y="236037"/>
                    </a:cubicBezTo>
                    <a:cubicBezTo>
                      <a:pt x="198881" y="239658"/>
                      <a:pt x="194759" y="243053"/>
                      <a:pt x="190453" y="246204"/>
                    </a:cubicBezTo>
                    <a:cubicBezTo>
                      <a:pt x="185927" y="249462"/>
                      <a:pt x="181678" y="253090"/>
                      <a:pt x="177753" y="257065"/>
                    </a:cubicBezTo>
                    <a:cubicBezTo>
                      <a:pt x="168043" y="268364"/>
                      <a:pt x="162109" y="282425"/>
                      <a:pt x="160781" y="297272"/>
                    </a:cubicBezTo>
                    <a:cubicBezTo>
                      <a:pt x="159915" y="303638"/>
                      <a:pt x="159384" y="310039"/>
                      <a:pt x="159165" y="316452"/>
                    </a:cubicBezTo>
                    <a:cubicBezTo>
                      <a:pt x="158841" y="322829"/>
                      <a:pt x="153415" y="327751"/>
                      <a:pt x="147042" y="327428"/>
                    </a:cubicBezTo>
                    <a:cubicBezTo>
                      <a:pt x="140669" y="327104"/>
                      <a:pt x="135750" y="321674"/>
                      <a:pt x="136074" y="315296"/>
                    </a:cubicBezTo>
                    <a:cubicBezTo>
                      <a:pt x="136074" y="306977"/>
                      <a:pt x="137113" y="300161"/>
                      <a:pt x="137921" y="294037"/>
                    </a:cubicBezTo>
                    <a:cubicBezTo>
                      <a:pt x="139895" y="274419"/>
                      <a:pt x="147966" y="255909"/>
                      <a:pt x="161012" y="241120"/>
                    </a:cubicBezTo>
                    <a:cubicBezTo>
                      <a:pt x="165769" y="236248"/>
                      <a:pt x="170952" y="231802"/>
                      <a:pt x="176483" y="227833"/>
                    </a:cubicBezTo>
                    <a:cubicBezTo>
                      <a:pt x="179831" y="225291"/>
                      <a:pt x="183064" y="222865"/>
                      <a:pt x="186181" y="219977"/>
                    </a:cubicBezTo>
                    <a:cubicBezTo>
                      <a:pt x="186354" y="217900"/>
                      <a:pt x="186354" y="215814"/>
                      <a:pt x="186181" y="213738"/>
                    </a:cubicBezTo>
                    <a:lnTo>
                      <a:pt x="186181" y="212120"/>
                    </a:lnTo>
                    <a:cubicBezTo>
                      <a:pt x="186435" y="206564"/>
                      <a:pt x="185892" y="201001"/>
                      <a:pt x="184565" y="195598"/>
                    </a:cubicBezTo>
                    <a:cubicBezTo>
                      <a:pt x="183930" y="193702"/>
                      <a:pt x="182948" y="191940"/>
                      <a:pt x="181678" y="190399"/>
                    </a:cubicBezTo>
                    <a:cubicBezTo>
                      <a:pt x="180374" y="188710"/>
                      <a:pt x="178815" y="187230"/>
                      <a:pt x="177060" y="186008"/>
                    </a:cubicBezTo>
                    <a:cubicBezTo>
                      <a:pt x="174878" y="184544"/>
                      <a:pt x="172558" y="183306"/>
                      <a:pt x="170133" y="182311"/>
                    </a:cubicBezTo>
                    <a:cubicBezTo>
                      <a:pt x="167246" y="181049"/>
                      <a:pt x="164279" y="180006"/>
                      <a:pt x="161243" y="179191"/>
                    </a:cubicBezTo>
                    <a:cubicBezTo>
                      <a:pt x="157779" y="178267"/>
                      <a:pt x="154431" y="177574"/>
                      <a:pt x="150967" y="176881"/>
                    </a:cubicBezTo>
                    <a:lnTo>
                      <a:pt x="139422" y="175263"/>
                    </a:lnTo>
                    <a:lnTo>
                      <a:pt x="127876" y="173992"/>
                    </a:lnTo>
                    <a:lnTo>
                      <a:pt x="112637" y="172375"/>
                    </a:lnTo>
                    <a:lnTo>
                      <a:pt x="104670" y="171566"/>
                    </a:lnTo>
                    <a:lnTo>
                      <a:pt x="96704" y="172375"/>
                    </a:lnTo>
                    <a:lnTo>
                      <a:pt x="81464" y="173992"/>
                    </a:lnTo>
                    <a:lnTo>
                      <a:pt x="69918" y="175263"/>
                    </a:lnTo>
                    <a:lnTo>
                      <a:pt x="58373" y="176881"/>
                    </a:lnTo>
                    <a:cubicBezTo>
                      <a:pt x="54909" y="177574"/>
                      <a:pt x="51445" y="178267"/>
                      <a:pt x="48097" y="179191"/>
                    </a:cubicBezTo>
                    <a:cubicBezTo>
                      <a:pt x="45061" y="180006"/>
                      <a:pt x="42082" y="181048"/>
                      <a:pt x="39207" y="182311"/>
                    </a:cubicBezTo>
                    <a:cubicBezTo>
                      <a:pt x="36783" y="183306"/>
                      <a:pt x="34462" y="184544"/>
                      <a:pt x="32280" y="186008"/>
                    </a:cubicBezTo>
                    <a:cubicBezTo>
                      <a:pt x="30513" y="187260"/>
                      <a:pt x="28932" y="188735"/>
                      <a:pt x="27547" y="190399"/>
                    </a:cubicBezTo>
                    <a:cubicBezTo>
                      <a:pt x="26311" y="191946"/>
                      <a:pt x="25376" y="193709"/>
                      <a:pt x="24775" y="195598"/>
                    </a:cubicBezTo>
                    <a:cubicBezTo>
                      <a:pt x="23424" y="200837"/>
                      <a:pt x="22871" y="206253"/>
                      <a:pt x="23159" y="211658"/>
                    </a:cubicBezTo>
                    <a:lnTo>
                      <a:pt x="23159" y="213738"/>
                    </a:lnTo>
                    <a:cubicBezTo>
                      <a:pt x="22986" y="215814"/>
                      <a:pt x="22986" y="217900"/>
                      <a:pt x="23159" y="219977"/>
                    </a:cubicBezTo>
                    <a:cubicBezTo>
                      <a:pt x="26161" y="222750"/>
                      <a:pt x="29509" y="225291"/>
                      <a:pt x="32857" y="227833"/>
                    </a:cubicBezTo>
                    <a:cubicBezTo>
                      <a:pt x="38388" y="231802"/>
                      <a:pt x="43572" y="236248"/>
                      <a:pt x="48328" y="241120"/>
                    </a:cubicBezTo>
                    <a:cubicBezTo>
                      <a:pt x="61328" y="255932"/>
                      <a:pt x="69410" y="274430"/>
                      <a:pt x="71419" y="294037"/>
                    </a:cubicBezTo>
                    <a:cubicBezTo>
                      <a:pt x="72851" y="305152"/>
                      <a:pt x="73659" y="316336"/>
                      <a:pt x="73843" y="327543"/>
                    </a:cubicBezTo>
                    <a:cubicBezTo>
                      <a:pt x="73843" y="333320"/>
                      <a:pt x="73843" y="339097"/>
                      <a:pt x="74652" y="344990"/>
                    </a:cubicBezTo>
                    <a:lnTo>
                      <a:pt x="139307" y="344990"/>
                    </a:lnTo>
                    <a:cubicBezTo>
                      <a:pt x="145680" y="344990"/>
                      <a:pt x="150852" y="350166"/>
                      <a:pt x="150852" y="356544"/>
                    </a:cubicBezTo>
                    <a:cubicBezTo>
                      <a:pt x="150852" y="362921"/>
                      <a:pt x="145680" y="368097"/>
                      <a:pt x="139307" y="368097"/>
                    </a:cubicBezTo>
                    <a:close/>
                    <a:moveTo>
                      <a:pt x="103746" y="23099"/>
                    </a:moveTo>
                    <a:cubicBezTo>
                      <a:pt x="90584" y="23129"/>
                      <a:pt x="78023" y="28656"/>
                      <a:pt x="69110" y="38350"/>
                    </a:cubicBezTo>
                    <a:cubicBezTo>
                      <a:pt x="59181" y="50712"/>
                      <a:pt x="57565" y="70007"/>
                      <a:pt x="63453" y="96119"/>
                    </a:cubicBezTo>
                    <a:cubicBezTo>
                      <a:pt x="68533" y="117147"/>
                      <a:pt x="74190" y="135056"/>
                      <a:pt x="90816" y="142335"/>
                    </a:cubicBezTo>
                    <a:cubicBezTo>
                      <a:pt x="94856" y="144068"/>
                      <a:pt x="98551" y="145454"/>
                      <a:pt x="101437" y="146494"/>
                    </a:cubicBezTo>
                    <a:lnTo>
                      <a:pt x="104439" y="147649"/>
                    </a:lnTo>
                    <a:lnTo>
                      <a:pt x="107441" y="146494"/>
                    </a:lnTo>
                    <a:cubicBezTo>
                      <a:pt x="110327" y="145454"/>
                      <a:pt x="113907" y="144068"/>
                      <a:pt x="117947" y="142335"/>
                    </a:cubicBezTo>
                    <a:cubicBezTo>
                      <a:pt x="134688" y="135287"/>
                      <a:pt x="141038" y="116569"/>
                      <a:pt x="145310" y="96119"/>
                    </a:cubicBezTo>
                    <a:cubicBezTo>
                      <a:pt x="151545" y="70238"/>
                      <a:pt x="149697" y="50943"/>
                      <a:pt x="139653" y="38350"/>
                    </a:cubicBezTo>
                    <a:cubicBezTo>
                      <a:pt x="130809" y="28549"/>
                      <a:pt x="118213" y="22998"/>
                      <a:pt x="105016" y="23099"/>
                    </a:cubicBezTo>
                    <a:lnTo>
                      <a:pt x="103400" y="23099"/>
                    </a:lnTo>
                    <a:close/>
                  </a:path>
                </a:pathLst>
              </a:custGeom>
              <a:grpFill/>
              <a:ln w="115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93" name="Freeform 334">
                <a:extLst>
                  <a:ext uri="{FF2B5EF4-FFF2-40B4-BE49-F238E27FC236}">
                    <a16:creationId xmlns:a16="http://schemas.microsoft.com/office/drawing/2014/main" id="{B3DEEC38-4CD6-4450-9E23-8FD60C8D87D8}"/>
                  </a:ext>
                </a:extLst>
              </p:cNvPr>
              <p:cNvSpPr/>
              <p:nvPr/>
            </p:nvSpPr>
            <p:spPr>
              <a:xfrm>
                <a:off x="8157055" y="1965274"/>
                <a:ext cx="311727" cy="103985"/>
              </a:xfrm>
              <a:custGeom>
                <a:avLst/>
                <a:gdLst>
                  <a:gd name="connsiteX0" fmla="*/ 161636 w 311727"/>
                  <a:gd name="connsiteY0" fmla="*/ 107458 h 103984"/>
                  <a:gd name="connsiteX1" fmla="*/ 0 w 311727"/>
                  <a:gd name="connsiteY1" fmla="*/ 53617 h 103984"/>
                  <a:gd name="connsiteX2" fmla="*/ 118802 w 311727"/>
                  <a:gd name="connsiteY2" fmla="*/ 1509 h 103984"/>
                  <a:gd name="connsiteX3" fmla="*/ 131272 w 311727"/>
                  <a:gd name="connsiteY3" fmla="*/ 12023 h 103984"/>
                  <a:gd name="connsiteX4" fmla="*/ 120719 w 311727"/>
                  <a:gd name="connsiteY4" fmla="*/ 24490 h 103984"/>
                  <a:gd name="connsiteX5" fmla="*/ 120650 w 311727"/>
                  <a:gd name="connsiteY5" fmla="*/ 24501 h 103984"/>
                  <a:gd name="connsiteX6" fmla="*/ 23091 w 311727"/>
                  <a:gd name="connsiteY6" fmla="*/ 53617 h 103984"/>
                  <a:gd name="connsiteX7" fmla="*/ 161636 w 311727"/>
                  <a:gd name="connsiteY7" fmla="*/ 84350 h 103984"/>
                  <a:gd name="connsiteX8" fmla="*/ 300182 w 311727"/>
                  <a:gd name="connsiteY8" fmla="*/ 53617 h 103984"/>
                  <a:gd name="connsiteX9" fmla="*/ 202623 w 311727"/>
                  <a:gd name="connsiteY9" fmla="*/ 24501 h 103984"/>
                  <a:gd name="connsiteX10" fmla="*/ 180109 w 311727"/>
                  <a:gd name="connsiteY10" fmla="*/ 23115 h 103984"/>
                  <a:gd name="connsiteX11" fmla="*/ 168968 w 311727"/>
                  <a:gd name="connsiteY11" fmla="*/ 11156 h 103984"/>
                  <a:gd name="connsiteX12" fmla="*/ 180917 w 311727"/>
                  <a:gd name="connsiteY12" fmla="*/ 7 h 103984"/>
                  <a:gd name="connsiteX13" fmla="*/ 204008 w 311727"/>
                  <a:gd name="connsiteY13" fmla="*/ 1393 h 103984"/>
                  <a:gd name="connsiteX14" fmla="*/ 322810 w 311727"/>
                  <a:gd name="connsiteY14" fmla="*/ 53501 h 103984"/>
                  <a:gd name="connsiteX15" fmla="*/ 161636 w 311727"/>
                  <a:gd name="connsiteY15" fmla="*/ 107458 h 103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1727" h="103984">
                    <a:moveTo>
                      <a:pt x="161636" y="107458"/>
                    </a:moveTo>
                    <a:cubicBezTo>
                      <a:pt x="83589" y="107458"/>
                      <a:pt x="0" y="90589"/>
                      <a:pt x="0" y="53617"/>
                    </a:cubicBezTo>
                    <a:cubicBezTo>
                      <a:pt x="0" y="14334"/>
                      <a:pt x="90863" y="3704"/>
                      <a:pt x="118802" y="1509"/>
                    </a:cubicBezTo>
                    <a:cubicBezTo>
                      <a:pt x="125141" y="977"/>
                      <a:pt x="130717" y="5680"/>
                      <a:pt x="131272" y="12023"/>
                    </a:cubicBezTo>
                    <a:cubicBezTo>
                      <a:pt x="131803" y="18378"/>
                      <a:pt x="127080" y="23970"/>
                      <a:pt x="120719" y="24490"/>
                    </a:cubicBezTo>
                    <a:cubicBezTo>
                      <a:pt x="120696" y="24501"/>
                      <a:pt x="120673" y="24501"/>
                      <a:pt x="120650" y="24501"/>
                    </a:cubicBezTo>
                    <a:cubicBezTo>
                      <a:pt x="52070" y="30163"/>
                      <a:pt x="23091" y="47609"/>
                      <a:pt x="23091" y="53617"/>
                    </a:cubicBezTo>
                    <a:cubicBezTo>
                      <a:pt x="23091" y="62513"/>
                      <a:pt x="71812" y="84350"/>
                      <a:pt x="161636" y="84350"/>
                    </a:cubicBezTo>
                    <a:cubicBezTo>
                      <a:pt x="251460" y="84350"/>
                      <a:pt x="300182" y="62513"/>
                      <a:pt x="300182" y="53617"/>
                    </a:cubicBezTo>
                    <a:cubicBezTo>
                      <a:pt x="300182" y="47609"/>
                      <a:pt x="271203" y="30509"/>
                      <a:pt x="202623" y="24501"/>
                    </a:cubicBezTo>
                    <a:cubicBezTo>
                      <a:pt x="195349" y="24501"/>
                      <a:pt x="187729" y="23461"/>
                      <a:pt x="180109" y="23115"/>
                    </a:cubicBezTo>
                    <a:cubicBezTo>
                      <a:pt x="173736" y="22895"/>
                      <a:pt x="168748" y="17534"/>
                      <a:pt x="168968" y="11156"/>
                    </a:cubicBezTo>
                    <a:cubicBezTo>
                      <a:pt x="169187" y="4779"/>
                      <a:pt x="174544" y="-213"/>
                      <a:pt x="180917" y="7"/>
                    </a:cubicBezTo>
                    <a:cubicBezTo>
                      <a:pt x="188999" y="7"/>
                      <a:pt x="196700" y="469"/>
                      <a:pt x="204008" y="1393"/>
                    </a:cubicBezTo>
                    <a:cubicBezTo>
                      <a:pt x="231833" y="3589"/>
                      <a:pt x="322810" y="14218"/>
                      <a:pt x="322810" y="53501"/>
                    </a:cubicBezTo>
                    <a:cubicBezTo>
                      <a:pt x="323734" y="90589"/>
                      <a:pt x="239684" y="107458"/>
                      <a:pt x="161636" y="107458"/>
                    </a:cubicBezTo>
                    <a:close/>
                  </a:path>
                </a:pathLst>
              </a:custGeom>
              <a:grpFill/>
              <a:ln w="115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grpSp>
        <p:grpSp>
          <p:nvGrpSpPr>
            <p:cNvPr id="13" name="Group 12">
              <a:extLst>
                <a:ext uri="{FF2B5EF4-FFF2-40B4-BE49-F238E27FC236}">
                  <a16:creationId xmlns:a16="http://schemas.microsoft.com/office/drawing/2014/main" id="{B062B948-F514-4FF8-B418-49540591CD6F}"/>
                </a:ext>
              </a:extLst>
            </p:cNvPr>
            <p:cNvGrpSpPr/>
            <p:nvPr/>
          </p:nvGrpSpPr>
          <p:grpSpPr>
            <a:xfrm>
              <a:off x="752387" y="4837757"/>
              <a:ext cx="541259" cy="553774"/>
              <a:chOff x="3043676" y="2438065"/>
              <a:chExt cx="542636" cy="554586"/>
            </a:xfrm>
            <a:solidFill>
              <a:schemeClr val="accent1"/>
            </a:solidFill>
          </p:grpSpPr>
          <p:sp>
            <p:nvSpPr>
              <p:cNvPr id="82" name="Freeform 335">
                <a:extLst>
                  <a:ext uri="{FF2B5EF4-FFF2-40B4-BE49-F238E27FC236}">
                    <a16:creationId xmlns:a16="http://schemas.microsoft.com/office/drawing/2014/main" id="{DF8866B2-9B6E-4764-B66E-F26C8869EDA6}"/>
                  </a:ext>
                </a:extLst>
              </p:cNvPr>
              <p:cNvSpPr/>
              <p:nvPr/>
            </p:nvSpPr>
            <p:spPr>
              <a:xfrm>
                <a:off x="3043676" y="2438065"/>
                <a:ext cx="542636" cy="554586"/>
              </a:xfrm>
              <a:custGeom>
                <a:avLst/>
                <a:gdLst>
                  <a:gd name="connsiteX0" fmla="*/ 276411 w 542636"/>
                  <a:gd name="connsiteY0" fmla="*/ 554587 h 554586"/>
                  <a:gd name="connsiteX1" fmla="*/ 1 w 542636"/>
                  <a:gd name="connsiteY1" fmla="*/ 276612 h 554586"/>
                  <a:gd name="connsiteX2" fmla="*/ 277773 w 542636"/>
                  <a:gd name="connsiteY2" fmla="*/ 1 h 554586"/>
                  <a:gd name="connsiteX3" fmla="*/ 472683 w 542636"/>
                  <a:gd name="connsiteY3" fmla="*/ 80878 h 554586"/>
                  <a:gd name="connsiteX4" fmla="*/ 472683 w 542636"/>
                  <a:gd name="connsiteY4" fmla="*/ 80878 h 554586"/>
                  <a:gd name="connsiteX5" fmla="*/ 473364 w 542636"/>
                  <a:gd name="connsiteY5" fmla="*/ 473028 h 554586"/>
                  <a:gd name="connsiteX6" fmla="*/ 276411 w 542636"/>
                  <a:gd name="connsiteY6" fmla="*/ 554587 h 554586"/>
                  <a:gd name="connsiteX7" fmla="*/ 276411 w 542636"/>
                  <a:gd name="connsiteY7" fmla="*/ 23109 h 554586"/>
                  <a:gd name="connsiteX8" fmla="*/ 22607 w 542636"/>
                  <a:gd name="connsiteY8" fmla="*/ 277490 h 554586"/>
                  <a:gd name="connsiteX9" fmla="*/ 276815 w 542636"/>
                  <a:gd name="connsiteY9" fmla="*/ 531479 h 554586"/>
                  <a:gd name="connsiteX10" fmla="*/ 530607 w 542636"/>
                  <a:gd name="connsiteY10" fmla="*/ 277098 h 554586"/>
                  <a:gd name="connsiteX11" fmla="*/ 456058 w 542636"/>
                  <a:gd name="connsiteY11" fmla="*/ 97400 h 554586"/>
                  <a:gd name="connsiteX12" fmla="*/ 276411 w 542636"/>
                  <a:gd name="connsiteY12" fmla="*/ 23109 h 554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2636" h="554586">
                    <a:moveTo>
                      <a:pt x="276411" y="554587"/>
                    </a:moveTo>
                    <a:cubicBezTo>
                      <a:pt x="123375" y="554206"/>
                      <a:pt x="-380" y="429759"/>
                      <a:pt x="1" y="276612"/>
                    </a:cubicBezTo>
                    <a:cubicBezTo>
                      <a:pt x="382" y="123466"/>
                      <a:pt x="124738" y="-369"/>
                      <a:pt x="277773" y="1"/>
                    </a:cubicBezTo>
                    <a:cubicBezTo>
                      <a:pt x="350856" y="186"/>
                      <a:pt x="420914" y="29255"/>
                      <a:pt x="472683" y="80878"/>
                    </a:cubicBezTo>
                    <a:lnTo>
                      <a:pt x="472683" y="80878"/>
                    </a:lnTo>
                    <a:cubicBezTo>
                      <a:pt x="581084" y="188976"/>
                      <a:pt x="581384" y="364549"/>
                      <a:pt x="473364" y="473028"/>
                    </a:cubicBezTo>
                    <a:cubicBezTo>
                      <a:pt x="421202" y="525414"/>
                      <a:pt x="350301" y="554772"/>
                      <a:pt x="276411" y="554587"/>
                    </a:cubicBezTo>
                    <a:close/>
                    <a:moveTo>
                      <a:pt x="276411" y="23109"/>
                    </a:moveTo>
                    <a:cubicBezTo>
                      <a:pt x="136133" y="23224"/>
                      <a:pt x="22503" y="137111"/>
                      <a:pt x="22607" y="277490"/>
                    </a:cubicBezTo>
                    <a:cubicBezTo>
                      <a:pt x="22722" y="417882"/>
                      <a:pt x="136526" y="531595"/>
                      <a:pt x="276815" y="531479"/>
                    </a:cubicBezTo>
                    <a:cubicBezTo>
                      <a:pt x="417092" y="531364"/>
                      <a:pt x="530722" y="417477"/>
                      <a:pt x="530607" y="277098"/>
                    </a:cubicBezTo>
                    <a:cubicBezTo>
                      <a:pt x="530561" y="209669"/>
                      <a:pt x="503741" y="145037"/>
                      <a:pt x="456058" y="97400"/>
                    </a:cubicBezTo>
                    <a:cubicBezTo>
                      <a:pt x="408433" y="49717"/>
                      <a:pt x="343778" y="22981"/>
                      <a:pt x="276411" y="23109"/>
                    </a:cubicBezTo>
                    <a:close/>
                  </a:path>
                </a:pathLst>
              </a:custGeom>
              <a:grpFill/>
              <a:ln w="115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83" name="Freeform 336">
                <a:extLst>
                  <a:ext uri="{FF2B5EF4-FFF2-40B4-BE49-F238E27FC236}">
                    <a16:creationId xmlns:a16="http://schemas.microsoft.com/office/drawing/2014/main" id="{3802AA55-6FA7-4798-9797-035D90AC95B2}"/>
                  </a:ext>
                </a:extLst>
              </p:cNvPr>
              <p:cNvSpPr/>
              <p:nvPr/>
            </p:nvSpPr>
            <p:spPr>
              <a:xfrm>
                <a:off x="3220841" y="2525065"/>
                <a:ext cx="161636" cy="346616"/>
              </a:xfrm>
              <a:custGeom>
                <a:avLst/>
                <a:gdLst>
                  <a:gd name="connsiteX0" fmla="*/ 155241 w 161636"/>
                  <a:gd name="connsiteY0" fmla="*/ 352049 h 346616"/>
                  <a:gd name="connsiteX1" fmla="*/ 65648 w 161636"/>
                  <a:gd name="connsiteY1" fmla="*/ 352049 h 346616"/>
                  <a:gd name="connsiteX2" fmla="*/ 48561 w 161636"/>
                  <a:gd name="connsiteY2" fmla="*/ 332292 h 346616"/>
                  <a:gd name="connsiteX3" fmla="*/ 47753 w 161636"/>
                  <a:gd name="connsiteY3" fmla="*/ 313690 h 346616"/>
                  <a:gd name="connsiteX4" fmla="*/ 45675 w 161636"/>
                  <a:gd name="connsiteY4" fmla="*/ 284228 h 346616"/>
                  <a:gd name="connsiteX5" fmla="*/ 29742 w 161636"/>
                  <a:gd name="connsiteY5" fmla="*/ 246331 h 346616"/>
                  <a:gd name="connsiteX6" fmla="*/ 18197 w 161636"/>
                  <a:gd name="connsiteY6" fmla="*/ 236048 h 346616"/>
                  <a:gd name="connsiteX7" fmla="*/ 6651 w 161636"/>
                  <a:gd name="connsiteY7" fmla="*/ 226458 h 346616"/>
                  <a:gd name="connsiteX8" fmla="*/ 301 w 161636"/>
                  <a:gd name="connsiteY8" fmla="*/ 204159 h 346616"/>
                  <a:gd name="connsiteX9" fmla="*/ 301 w 161636"/>
                  <a:gd name="connsiteY9" fmla="*/ 202888 h 346616"/>
                  <a:gd name="connsiteX10" fmla="*/ 3072 w 161636"/>
                  <a:gd name="connsiteY10" fmla="*/ 179780 h 346616"/>
                  <a:gd name="connsiteX11" fmla="*/ 9422 w 161636"/>
                  <a:gd name="connsiteY11" fmla="*/ 168226 h 346616"/>
                  <a:gd name="connsiteX12" fmla="*/ 18543 w 161636"/>
                  <a:gd name="connsiteY12" fmla="*/ 159677 h 346616"/>
                  <a:gd name="connsiteX13" fmla="*/ 29165 w 161636"/>
                  <a:gd name="connsiteY13" fmla="*/ 153784 h 346616"/>
                  <a:gd name="connsiteX14" fmla="*/ 40710 w 161636"/>
                  <a:gd name="connsiteY14" fmla="*/ 149856 h 346616"/>
                  <a:gd name="connsiteX15" fmla="*/ 52256 w 161636"/>
                  <a:gd name="connsiteY15" fmla="*/ 147314 h 346616"/>
                  <a:gd name="connsiteX16" fmla="*/ 61954 w 161636"/>
                  <a:gd name="connsiteY16" fmla="*/ 145812 h 346616"/>
                  <a:gd name="connsiteX17" fmla="*/ 38863 w 161636"/>
                  <a:gd name="connsiteY17" fmla="*/ 97286 h 346616"/>
                  <a:gd name="connsiteX18" fmla="*/ 48561 w 161636"/>
                  <a:gd name="connsiteY18" fmla="*/ 23110 h 346616"/>
                  <a:gd name="connsiteX19" fmla="*/ 99361 w 161636"/>
                  <a:gd name="connsiteY19" fmla="*/ 2 h 346616"/>
                  <a:gd name="connsiteX20" fmla="*/ 110907 w 161636"/>
                  <a:gd name="connsiteY20" fmla="*/ 11556 h 346616"/>
                  <a:gd name="connsiteX21" fmla="*/ 99361 w 161636"/>
                  <a:gd name="connsiteY21" fmla="*/ 23110 h 346616"/>
                  <a:gd name="connsiteX22" fmla="*/ 67149 w 161636"/>
                  <a:gd name="connsiteY22" fmla="*/ 37437 h 346616"/>
                  <a:gd name="connsiteX23" fmla="*/ 61838 w 161636"/>
                  <a:gd name="connsiteY23" fmla="*/ 91624 h 346616"/>
                  <a:gd name="connsiteX24" fmla="*/ 87585 w 161636"/>
                  <a:gd name="connsiteY24" fmla="*/ 134951 h 346616"/>
                  <a:gd name="connsiteX25" fmla="*/ 97514 w 161636"/>
                  <a:gd name="connsiteY25" fmla="*/ 138880 h 346616"/>
                  <a:gd name="connsiteX26" fmla="*/ 111715 w 161636"/>
                  <a:gd name="connsiteY26" fmla="*/ 153900 h 346616"/>
                  <a:gd name="connsiteX27" fmla="*/ 101555 w 161636"/>
                  <a:gd name="connsiteY27" fmla="*/ 164414 h 346616"/>
                  <a:gd name="connsiteX28" fmla="*/ 92780 w 161636"/>
                  <a:gd name="connsiteY28" fmla="*/ 165454 h 346616"/>
                  <a:gd name="connsiteX29" fmla="*/ 78233 w 161636"/>
                  <a:gd name="connsiteY29" fmla="*/ 166956 h 346616"/>
                  <a:gd name="connsiteX30" fmla="*/ 67380 w 161636"/>
                  <a:gd name="connsiteY30" fmla="*/ 168226 h 346616"/>
                  <a:gd name="connsiteX31" fmla="*/ 56759 w 161636"/>
                  <a:gd name="connsiteY31" fmla="*/ 169729 h 346616"/>
                  <a:gd name="connsiteX32" fmla="*/ 47060 w 161636"/>
                  <a:gd name="connsiteY32" fmla="*/ 171924 h 346616"/>
                  <a:gd name="connsiteX33" fmla="*/ 38632 w 161636"/>
                  <a:gd name="connsiteY33" fmla="*/ 174812 h 346616"/>
                  <a:gd name="connsiteX34" fmla="*/ 32167 w 161636"/>
                  <a:gd name="connsiteY34" fmla="*/ 178278 h 346616"/>
                  <a:gd name="connsiteX35" fmla="*/ 27895 w 161636"/>
                  <a:gd name="connsiteY35" fmla="*/ 182322 h 346616"/>
                  <a:gd name="connsiteX36" fmla="*/ 25239 w 161636"/>
                  <a:gd name="connsiteY36" fmla="*/ 187059 h 346616"/>
                  <a:gd name="connsiteX37" fmla="*/ 23739 w 161636"/>
                  <a:gd name="connsiteY37" fmla="*/ 202310 h 346616"/>
                  <a:gd name="connsiteX38" fmla="*/ 23739 w 161636"/>
                  <a:gd name="connsiteY38" fmla="*/ 204159 h 346616"/>
                  <a:gd name="connsiteX39" fmla="*/ 23739 w 161636"/>
                  <a:gd name="connsiteY39" fmla="*/ 209821 h 346616"/>
                  <a:gd name="connsiteX40" fmla="*/ 32744 w 161636"/>
                  <a:gd name="connsiteY40" fmla="*/ 217100 h 346616"/>
                  <a:gd name="connsiteX41" fmla="*/ 47522 w 161636"/>
                  <a:gd name="connsiteY41" fmla="*/ 229809 h 346616"/>
                  <a:gd name="connsiteX42" fmla="*/ 69574 w 161636"/>
                  <a:gd name="connsiteY42" fmla="*/ 280415 h 346616"/>
                  <a:gd name="connsiteX43" fmla="*/ 71883 w 161636"/>
                  <a:gd name="connsiteY43" fmla="*/ 312303 h 346616"/>
                  <a:gd name="connsiteX44" fmla="*/ 72576 w 161636"/>
                  <a:gd name="connsiteY44" fmla="*/ 328363 h 346616"/>
                  <a:gd name="connsiteX45" fmla="*/ 156280 w 161636"/>
                  <a:gd name="connsiteY45" fmla="*/ 328363 h 346616"/>
                  <a:gd name="connsiteX46" fmla="*/ 167826 w 161636"/>
                  <a:gd name="connsiteY46" fmla="*/ 339917 h 346616"/>
                  <a:gd name="connsiteX47" fmla="*/ 156280 w 161636"/>
                  <a:gd name="connsiteY47" fmla="*/ 351471 h 346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61636" h="346616">
                    <a:moveTo>
                      <a:pt x="155241" y="352049"/>
                    </a:moveTo>
                    <a:lnTo>
                      <a:pt x="65648" y="352049"/>
                    </a:lnTo>
                    <a:cubicBezTo>
                      <a:pt x="55569" y="351136"/>
                      <a:pt x="48019" y="342401"/>
                      <a:pt x="48561" y="332292"/>
                    </a:cubicBezTo>
                    <a:cubicBezTo>
                      <a:pt x="48561" y="326053"/>
                      <a:pt x="47984" y="319929"/>
                      <a:pt x="47753" y="313690"/>
                    </a:cubicBezTo>
                    <a:cubicBezTo>
                      <a:pt x="47603" y="303834"/>
                      <a:pt x="46899" y="294002"/>
                      <a:pt x="45675" y="284228"/>
                    </a:cubicBezTo>
                    <a:cubicBezTo>
                      <a:pt x="44405" y="270247"/>
                      <a:pt x="38840" y="257018"/>
                      <a:pt x="29742" y="246331"/>
                    </a:cubicBezTo>
                    <a:cubicBezTo>
                      <a:pt x="26163" y="242610"/>
                      <a:pt x="22307" y="239167"/>
                      <a:pt x="18197" y="236048"/>
                    </a:cubicBezTo>
                    <a:cubicBezTo>
                      <a:pt x="14156" y="232928"/>
                      <a:pt x="10115" y="229924"/>
                      <a:pt x="6651" y="226458"/>
                    </a:cubicBezTo>
                    <a:cubicBezTo>
                      <a:pt x="1433" y="220277"/>
                      <a:pt x="-876" y="212154"/>
                      <a:pt x="301" y="204159"/>
                    </a:cubicBezTo>
                    <a:lnTo>
                      <a:pt x="301" y="202888"/>
                    </a:lnTo>
                    <a:cubicBezTo>
                      <a:pt x="1" y="195089"/>
                      <a:pt x="936" y="187290"/>
                      <a:pt x="3072" y="179780"/>
                    </a:cubicBezTo>
                    <a:cubicBezTo>
                      <a:pt x="4492" y="175586"/>
                      <a:pt x="6640" y="171670"/>
                      <a:pt x="9422" y="168226"/>
                    </a:cubicBezTo>
                    <a:cubicBezTo>
                      <a:pt x="12066" y="164980"/>
                      <a:pt x="15126" y="162103"/>
                      <a:pt x="18543" y="159677"/>
                    </a:cubicBezTo>
                    <a:cubicBezTo>
                      <a:pt x="21868" y="157343"/>
                      <a:pt x="25424" y="155367"/>
                      <a:pt x="29165" y="153784"/>
                    </a:cubicBezTo>
                    <a:cubicBezTo>
                      <a:pt x="32906" y="152190"/>
                      <a:pt x="36773" y="150873"/>
                      <a:pt x="40710" y="149856"/>
                    </a:cubicBezTo>
                    <a:cubicBezTo>
                      <a:pt x="44520" y="148816"/>
                      <a:pt x="48446" y="148007"/>
                      <a:pt x="52256" y="147314"/>
                    </a:cubicBezTo>
                    <a:cubicBezTo>
                      <a:pt x="56066" y="146621"/>
                      <a:pt x="58721" y="146159"/>
                      <a:pt x="61954" y="145812"/>
                    </a:cubicBezTo>
                    <a:cubicBezTo>
                      <a:pt x="49820" y="132144"/>
                      <a:pt x="41819" y="115321"/>
                      <a:pt x="38863" y="97286"/>
                    </a:cubicBezTo>
                    <a:cubicBezTo>
                      <a:pt x="31243" y="65512"/>
                      <a:pt x="34476" y="40556"/>
                      <a:pt x="48561" y="23110"/>
                    </a:cubicBezTo>
                    <a:cubicBezTo>
                      <a:pt x="61273" y="8298"/>
                      <a:pt x="79849" y="-148"/>
                      <a:pt x="99361" y="2"/>
                    </a:cubicBezTo>
                    <a:cubicBezTo>
                      <a:pt x="105734" y="2"/>
                      <a:pt x="110907" y="5178"/>
                      <a:pt x="110907" y="11556"/>
                    </a:cubicBezTo>
                    <a:cubicBezTo>
                      <a:pt x="110907" y="17934"/>
                      <a:pt x="105734" y="23110"/>
                      <a:pt x="99361" y="23110"/>
                    </a:cubicBezTo>
                    <a:cubicBezTo>
                      <a:pt x="87123" y="23295"/>
                      <a:pt x="75485" y="28471"/>
                      <a:pt x="67149" y="37437"/>
                    </a:cubicBezTo>
                    <a:cubicBezTo>
                      <a:pt x="57798" y="48990"/>
                      <a:pt x="55604" y="67246"/>
                      <a:pt x="61838" y="91624"/>
                    </a:cubicBezTo>
                    <a:cubicBezTo>
                      <a:pt x="66687" y="111381"/>
                      <a:pt x="71883" y="128366"/>
                      <a:pt x="87585" y="134951"/>
                    </a:cubicBezTo>
                    <a:lnTo>
                      <a:pt x="97514" y="138880"/>
                    </a:lnTo>
                    <a:cubicBezTo>
                      <a:pt x="105018" y="141768"/>
                      <a:pt x="112638" y="144657"/>
                      <a:pt x="111715" y="153900"/>
                    </a:cubicBezTo>
                    <a:cubicBezTo>
                      <a:pt x="110953" y="159226"/>
                      <a:pt x="106854" y="163466"/>
                      <a:pt x="101555" y="164414"/>
                    </a:cubicBezTo>
                    <a:lnTo>
                      <a:pt x="92780" y="165454"/>
                    </a:lnTo>
                    <a:lnTo>
                      <a:pt x="78233" y="166956"/>
                    </a:lnTo>
                    <a:lnTo>
                      <a:pt x="67380" y="168226"/>
                    </a:lnTo>
                    <a:lnTo>
                      <a:pt x="56759" y="169729"/>
                    </a:lnTo>
                    <a:cubicBezTo>
                      <a:pt x="53526" y="170422"/>
                      <a:pt x="50178" y="170999"/>
                      <a:pt x="47060" y="171924"/>
                    </a:cubicBezTo>
                    <a:cubicBezTo>
                      <a:pt x="44197" y="172709"/>
                      <a:pt x="41380" y="173680"/>
                      <a:pt x="38632" y="174812"/>
                    </a:cubicBezTo>
                    <a:cubicBezTo>
                      <a:pt x="36358" y="175725"/>
                      <a:pt x="34187" y="176892"/>
                      <a:pt x="32167" y="178278"/>
                    </a:cubicBezTo>
                    <a:cubicBezTo>
                      <a:pt x="30562" y="179411"/>
                      <a:pt x="29119" y="180774"/>
                      <a:pt x="27895" y="182322"/>
                    </a:cubicBezTo>
                    <a:cubicBezTo>
                      <a:pt x="26752" y="183743"/>
                      <a:pt x="25851" y="185338"/>
                      <a:pt x="25239" y="187059"/>
                    </a:cubicBezTo>
                    <a:cubicBezTo>
                      <a:pt x="23981" y="192039"/>
                      <a:pt x="23473" y="197180"/>
                      <a:pt x="23739" y="202310"/>
                    </a:cubicBezTo>
                    <a:lnTo>
                      <a:pt x="23739" y="204159"/>
                    </a:lnTo>
                    <a:cubicBezTo>
                      <a:pt x="23623" y="206042"/>
                      <a:pt x="23623" y="207937"/>
                      <a:pt x="23739" y="209821"/>
                    </a:cubicBezTo>
                    <a:cubicBezTo>
                      <a:pt x="26590" y="212432"/>
                      <a:pt x="29592" y="214870"/>
                      <a:pt x="32744" y="217100"/>
                    </a:cubicBezTo>
                    <a:cubicBezTo>
                      <a:pt x="37997" y="220935"/>
                      <a:pt x="42939" y="225187"/>
                      <a:pt x="47522" y="229809"/>
                    </a:cubicBezTo>
                    <a:cubicBezTo>
                      <a:pt x="59945" y="243974"/>
                      <a:pt x="67657" y="261663"/>
                      <a:pt x="69574" y="280415"/>
                    </a:cubicBezTo>
                    <a:cubicBezTo>
                      <a:pt x="71075" y="291160"/>
                      <a:pt x="71421" y="301905"/>
                      <a:pt x="71883" y="312303"/>
                    </a:cubicBezTo>
                    <a:cubicBezTo>
                      <a:pt x="71883" y="317618"/>
                      <a:pt x="71883" y="323049"/>
                      <a:pt x="72576" y="328363"/>
                    </a:cubicBezTo>
                    <a:lnTo>
                      <a:pt x="156280" y="328363"/>
                    </a:lnTo>
                    <a:cubicBezTo>
                      <a:pt x="162653" y="328363"/>
                      <a:pt x="167826" y="333539"/>
                      <a:pt x="167826" y="339917"/>
                    </a:cubicBezTo>
                    <a:cubicBezTo>
                      <a:pt x="167826" y="346295"/>
                      <a:pt x="162653" y="351471"/>
                      <a:pt x="156280" y="351471"/>
                    </a:cubicBezTo>
                    <a:close/>
                  </a:path>
                </a:pathLst>
              </a:custGeom>
              <a:grpFill/>
              <a:ln w="115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84" name="Freeform 337">
                <a:extLst>
                  <a:ext uri="{FF2B5EF4-FFF2-40B4-BE49-F238E27FC236}">
                    <a16:creationId xmlns:a16="http://schemas.microsoft.com/office/drawing/2014/main" id="{FAA1F96B-E282-4673-94B7-445DA562C196}"/>
                  </a:ext>
                </a:extLst>
              </p:cNvPr>
              <p:cNvSpPr/>
              <p:nvPr/>
            </p:nvSpPr>
            <p:spPr>
              <a:xfrm>
                <a:off x="3194472" y="2745925"/>
                <a:ext cx="57727" cy="92431"/>
              </a:xfrm>
              <a:custGeom>
                <a:avLst/>
                <a:gdLst>
                  <a:gd name="connsiteX0" fmla="*/ 11545 w 57727"/>
                  <a:gd name="connsiteY0" fmla="*/ 100686 h 92431"/>
                  <a:gd name="connsiteX1" fmla="*/ 0 w 57727"/>
                  <a:gd name="connsiteY1" fmla="*/ 89132 h 92431"/>
                  <a:gd name="connsiteX2" fmla="*/ 11545 w 57727"/>
                  <a:gd name="connsiteY2" fmla="*/ 77578 h 92431"/>
                  <a:gd name="connsiteX3" fmla="*/ 28979 w 57727"/>
                  <a:gd name="connsiteY3" fmla="*/ 77578 h 92431"/>
                  <a:gd name="connsiteX4" fmla="*/ 28979 w 57727"/>
                  <a:gd name="connsiteY4" fmla="*/ 68451 h 92431"/>
                  <a:gd name="connsiteX5" fmla="*/ 30711 w 57727"/>
                  <a:gd name="connsiteY5" fmla="*/ 44188 h 92431"/>
                  <a:gd name="connsiteX6" fmla="*/ 47914 w 57727"/>
                  <a:gd name="connsiteY6" fmla="*/ 4789 h 92431"/>
                  <a:gd name="connsiteX7" fmla="*/ 49415 w 57727"/>
                  <a:gd name="connsiteY7" fmla="*/ 3287 h 92431"/>
                  <a:gd name="connsiteX8" fmla="*/ 65809 w 57727"/>
                  <a:gd name="connsiteY8" fmla="*/ 3518 h 92431"/>
                  <a:gd name="connsiteX9" fmla="*/ 65578 w 57727"/>
                  <a:gd name="connsiteY9" fmla="*/ 19924 h 92431"/>
                  <a:gd name="connsiteX10" fmla="*/ 64770 w 57727"/>
                  <a:gd name="connsiteY10" fmla="*/ 20733 h 92431"/>
                  <a:gd name="connsiteX11" fmla="*/ 53225 w 57727"/>
                  <a:gd name="connsiteY11" fmla="*/ 47538 h 92431"/>
                  <a:gd name="connsiteX12" fmla="*/ 51724 w 57727"/>
                  <a:gd name="connsiteY12" fmla="*/ 69259 h 92431"/>
                  <a:gd name="connsiteX13" fmla="*/ 51031 w 57727"/>
                  <a:gd name="connsiteY13" fmla="*/ 83240 h 92431"/>
                  <a:gd name="connsiteX14" fmla="*/ 36022 w 57727"/>
                  <a:gd name="connsiteY14" fmla="*/ 100686 h 9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727" h="92431">
                    <a:moveTo>
                      <a:pt x="11545" y="100686"/>
                    </a:moveTo>
                    <a:cubicBezTo>
                      <a:pt x="5172" y="100686"/>
                      <a:pt x="0" y="95510"/>
                      <a:pt x="0" y="89132"/>
                    </a:cubicBezTo>
                    <a:cubicBezTo>
                      <a:pt x="0" y="82754"/>
                      <a:pt x="5172" y="77578"/>
                      <a:pt x="11545" y="77578"/>
                    </a:cubicBezTo>
                    <a:lnTo>
                      <a:pt x="28979" y="77578"/>
                    </a:lnTo>
                    <a:lnTo>
                      <a:pt x="28979" y="68451"/>
                    </a:lnTo>
                    <a:cubicBezTo>
                      <a:pt x="29118" y="60340"/>
                      <a:pt x="29695" y="52241"/>
                      <a:pt x="30711" y="44188"/>
                    </a:cubicBezTo>
                    <a:cubicBezTo>
                      <a:pt x="32258" y="29595"/>
                      <a:pt x="38262" y="15834"/>
                      <a:pt x="47914" y="4789"/>
                    </a:cubicBezTo>
                    <a:lnTo>
                      <a:pt x="49415" y="3287"/>
                    </a:lnTo>
                    <a:cubicBezTo>
                      <a:pt x="54010" y="-1185"/>
                      <a:pt x="61341" y="-1081"/>
                      <a:pt x="65809" y="3518"/>
                    </a:cubicBezTo>
                    <a:cubicBezTo>
                      <a:pt x="70277" y="8116"/>
                      <a:pt x="70173" y="15453"/>
                      <a:pt x="65578" y="19924"/>
                    </a:cubicBezTo>
                    <a:lnTo>
                      <a:pt x="64770" y="20733"/>
                    </a:lnTo>
                    <a:cubicBezTo>
                      <a:pt x="58235" y="28255"/>
                      <a:pt x="54194" y="37625"/>
                      <a:pt x="53225" y="47538"/>
                    </a:cubicBezTo>
                    <a:cubicBezTo>
                      <a:pt x="52301" y="54748"/>
                      <a:pt x="51793" y="61992"/>
                      <a:pt x="51724" y="69259"/>
                    </a:cubicBezTo>
                    <a:cubicBezTo>
                      <a:pt x="51724" y="73881"/>
                      <a:pt x="51724" y="78618"/>
                      <a:pt x="51031" y="83240"/>
                    </a:cubicBezTo>
                    <a:cubicBezTo>
                      <a:pt x="51504" y="92136"/>
                      <a:pt x="44889" y="99831"/>
                      <a:pt x="36022" y="100686"/>
                    </a:cubicBezTo>
                    <a:close/>
                  </a:path>
                </a:pathLst>
              </a:custGeom>
              <a:grpFill/>
              <a:ln w="115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85" name="Freeform 338">
                <a:extLst>
                  <a:ext uri="{FF2B5EF4-FFF2-40B4-BE49-F238E27FC236}">
                    <a16:creationId xmlns:a16="http://schemas.microsoft.com/office/drawing/2014/main" id="{2479E6AF-672E-40B2-BC7B-1B3538C8C574}"/>
                  </a:ext>
                </a:extLst>
              </p:cNvPr>
              <p:cNvSpPr/>
              <p:nvPr/>
            </p:nvSpPr>
            <p:spPr>
              <a:xfrm>
                <a:off x="3194052" y="2578095"/>
                <a:ext cx="57727" cy="127093"/>
              </a:xfrm>
              <a:custGeom>
                <a:avLst/>
                <a:gdLst>
                  <a:gd name="connsiteX0" fmla="*/ 45563 w 57727"/>
                  <a:gd name="connsiteY0" fmla="*/ 132758 h 127092"/>
                  <a:gd name="connsiteX1" fmla="*/ 43485 w 57727"/>
                  <a:gd name="connsiteY1" fmla="*/ 132758 h 127092"/>
                  <a:gd name="connsiteX2" fmla="*/ 35749 w 57727"/>
                  <a:gd name="connsiteY2" fmla="*/ 131602 h 127092"/>
                  <a:gd name="connsiteX3" fmla="*/ 27667 w 57727"/>
                  <a:gd name="connsiteY3" fmla="*/ 130678 h 127092"/>
                  <a:gd name="connsiteX4" fmla="*/ 16815 w 57727"/>
                  <a:gd name="connsiteY4" fmla="*/ 129523 h 127092"/>
                  <a:gd name="connsiteX5" fmla="*/ 10003 w 57727"/>
                  <a:gd name="connsiteY5" fmla="*/ 128714 h 127092"/>
                  <a:gd name="connsiteX6" fmla="*/ 74 w 57727"/>
                  <a:gd name="connsiteY6" fmla="*/ 118316 h 127092"/>
                  <a:gd name="connsiteX7" fmla="*/ 12427 w 57727"/>
                  <a:gd name="connsiteY7" fmla="*/ 104104 h 127092"/>
                  <a:gd name="connsiteX8" fmla="*/ 19816 w 57727"/>
                  <a:gd name="connsiteY8" fmla="*/ 101100 h 127092"/>
                  <a:gd name="connsiteX9" fmla="*/ 37366 w 57727"/>
                  <a:gd name="connsiteY9" fmla="*/ 70714 h 127092"/>
                  <a:gd name="connsiteX10" fmla="*/ 34017 w 57727"/>
                  <a:gd name="connsiteY10" fmla="*/ 32701 h 127092"/>
                  <a:gd name="connsiteX11" fmla="*/ 12196 w 57727"/>
                  <a:gd name="connsiteY11" fmla="*/ 23112 h 127092"/>
                  <a:gd name="connsiteX12" fmla="*/ 12196 w 57727"/>
                  <a:gd name="connsiteY12" fmla="*/ 23112 h 127092"/>
                  <a:gd name="connsiteX13" fmla="*/ 651 w 57727"/>
                  <a:gd name="connsiteY13" fmla="*/ 11558 h 127092"/>
                  <a:gd name="connsiteX14" fmla="*/ 12196 w 57727"/>
                  <a:gd name="connsiteY14" fmla="*/ 4 h 127092"/>
                  <a:gd name="connsiteX15" fmla="*/ 52490 w 57727"/>
                  <a:gd name="connsiteY15" fmla="*/ 18143 h 127092"/>
                  <a:gd name="connsiteX16" fmla="*/ 60341 w 57727"/>
                  <a:gd name="connsiteY16" fmla="*/ 75913 h 127092"/>
                  <a:gd name="connsiteX17" fmla="*/ 46255 w 57727"/>
                  <a:gd name="connsiteY17" fmla="*/ 109419 h 127092"/>
                  <a:gd name="connsiteX18" fmla="*/ 48103 w 57727"/>
                  <a:gd name="connsiteY18" fmla="*/ 109419 h 127092"/>
                  <a:gd name="connsiteX19" fmla="*/ 58667 w 57727"/>
                  <a:gd name="connsiteY19" fmla="*/ 121955 h 127092"/>
                  <a:gd name="connsiteX20" fmla="*/ 46140 w 57727"/>
                  <a:gd name="connsiteY20" fmla="*/ 132527 h 127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7727" h="127092">
                    <a:moveTo>
                      <a:pt x="45563" y="132758"/>
                    </a:moveTo>
                    <a:lnTo>
                      <a:pt x="43485" y="132758"/>
                    </a:lnTo>
                    <a:lnTo>
                      <a:pt x="35749" y="131602"/>
                    </a:lnTo>
                    <a:lnTo>
                      <a:pt x="27667" y="130678"/>
                    </a:lnTo>
                    <a:lnTo>
                      <a:pt x="16815" y="129523"/>
                    </a:lnTo>
                    <a:cubicBezTo>
                      <a:pt x="14390" y="129523"/>
                      <a:pt x="11735" y="129523"/>
                      <a:pt x="10003" y="128714"/>
                    </a:cubicBezTo>
                    <a:cubicBezTo>
                      <a:pt x="4680" y="127986"/>
                      <a:pt x="559" y="123677"/>
                      <a:pt x="74" y="118316"/>
                    </a:cubicBezTo>
                    <a:cubicBezTo>
                      <a:pt x="-850" y="109188"/>
                      <a:pt x="7116" y="106068"/>
                      <a:pt x="12427" y="104104"/>
                    </a:cubicBezTo>
                    <a:cubicBezTo>
                      <a:pt x="14505" y="103295"/>
                      <a:pt x="17046" y="102371"/>
                      <a:pt x="19816" y="101100"/>
                    </a:cubicBezTo>
                    <a:cubicBezTo>
                      <a:pt x="29399" y="97172"/>
                      <a:pt x="33325" y="87351"/>
                      <a:pt x="37366" y="70714"/>
                    </a:cubicBezTo>
                    <a:cubicBezTo>
                      <a:pt x="41406" y="54076"/>
                      <a:pt x="40367" y="40673"/>
                      <a:pt x="34017" y="32701"/>
                    </a:cubicBezTo>
                    <a:cubicBezTo>
                      <a:pt x="28349" y="26659"/>
                      <a:pt x="20474" y="23204"/>
                      <a:pt x="12196" y="23112"/>
                    </a:cubicBezTo>
                    <a:lnTo>
                      <a:pt x="12196" y="23112"/>
                    </a:lnTo>
                    <a:cubicBezTo>
                      <a:pt x="5823" y="23112"/>
                      <a:pt x="651" y="17935"/>
                      <a:pt x="651" y="11558"/>
                    </a:cubicBezTo>
                    <a:cubicBezTo>
                      <a:pt x="651" y="5180"/>
                      <a:pt x="5823" y="4"/>
                      <a:pt x="12196" y="4"/>
                    </a:cubicBezTo>
                    <a:cubicBezTo>
                      <a:pt x="27644" y="-181"/>
                      <a:pt x="42388" y="6451"/>
                      <a:pt x="52490" y="18143"/>
                    </a:cubicBezTo>
                    <a:cubicBezTo>
                      <a:pt x="64036" y="32008"/>
                      <a:pt x="66345" y="51534"/>
                      <a:pt x="60341" y="75913"/>
                    </a:cubicBezTo>
                    <a:cubicBezTo>
                      <a:pt x="58251" y="88010"/>
                      <a:pt x="53425" y="99460"/>
                      <a:pt x="46255" y="109419"/>
                    </a:cubicBezTo>
                    <a:lnTo>
                      <a:pt x="48103" y="109419"/>
                    </a:lnTo>
                    <a:cubicBezTo>
                      <a:pt x="54476" y="109962"/>
                      <a:pt x="59210" y="115577"/>
                      <a:pt x="58667" y="121955"/>
                    </a:cubicBezTo>
                    <a:cubicBezTo>
                      <a:pt x="58124" y="128333"/>
                      <a:pt x="52513" y="133070"/>
                      <a:pt x="46140" y="132527"/>
                    </a:cubicBezTo>
                    <a:close/>
                  </a:path>
                </a:pathLst>
              </a:custGeom>
              <a:grpFill/>
              <a:ln w="115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86" name="Freeform 339">
                <a:extLst>
                  <a:ext uri="{FF2B5EF4-FFF2-40B4-BE49-F238E27FC236}">
                    <a16:creationId xmlns:a16="http://schemas.microsoft.com/office/drawing/2014/main" id="{BF2B9B43-A00D-4F07-A318-8189AE1006CC}"/>
                  </a:ext>
                </a:extLst>
              </p:cNvPr>
              <p:cNvSpPr/>
              <p:nvPr/>
            </p:nvSpPr>
            <p:spPr>
              <a:xfrm>
                <a:off x="3127518" y="2578674"/>
                <a:ext cx="80818" cy="265739"/>
              </a:xfrm>
              <a:custGeom>
                <a:avLst/>
                <a:gdLst>
                  <a:gd name="connsiteX0" fmla="*/ 77692 w 80818"/>
                  <a:gd name="connsiteY0" fmla="*/ 267937 h 265739"/>
                  <a:gd name="connsiteX1" fmla="*/ 53100 w 80818"/>
                  <a:gd name="connsiteY1" fmla="*/ 267937 h 265739"/>
                  <a:gd name="connsiteX2" fmla="*/ 37398 w 80818"/>
                  <a:gd name="connsiteY2" fmla="*/ 250491 h 265739"/>
                  <a:gd name="connsiteX3" fmla="*/ 36821 w 80818"/>
                  <a:gd name="connsiteY3" fmla="*/ 236511 h 265739"/>
                  <a:gd name="connsiteX4" fmla="*/ 35205 w 80818"/>
                  <a:gd name="connsiteY4" fmla="*/ 214790 h 265739"/>
                  <a:gd name="connsiteX5" fmla="*/ 23659 w 80818"/>
                  <a:gd name="connsiteY5" fmla="*/ 187985 h 265739"/>
                  <a:gd name="connsiteX6" fmla="*/ 15000 w 80818"/>
                  <a:gd name="connsiteY6" fmla="*/ 180706 h 265739"/>
                  <a:gd name="connsiteX7" fmla="*/ 5995 w 80818"/>
                  <a:gd name="connsiteY7" fmla="*/ 173196 h 265739"/>
                  <a:gd name="connsiteX8" fmla="*/ 222 w 80818"/>
                  <a:gd name="connsiteY8" fmla="*/ 154478 h 265739"/>
                  <a:gd name="connsiteX9" fmla="*/ 11767 w 80818"/>
                  <a:gd name="connsiteY9" fmla="*/ 153323 h 265739"/>
                  <a:gd name="connsiteX10" fmla="*/ 222 w 80818"/>
                  <a:gd name="connsiteY10" fmla="*/ 153323 h 265739"/>
                  <a:gd name="connsiteX11" fmla="*/ 2531 w 80818"/>
                  <a:gd name="connsiteY11" fmla="*/ 135646 h 265739"/>
                  <a:gd name="connsiteX12" fmla="*/ 15116 w 80818"/>
                  <a:gd name="connsiteY12" fmla="*/ 119239 h 265739"/>
                  <a:gd name="connsiteX13" fmla="*/ 23544 w 80818"/>
                  <a:gd name="connsiteY13" fmla="*/ 114502 h 265739"/>
                  <a:gd name="connsiteX14" fmla="*/ 32549 w 80818"/>
                  <a:gd name="connsiteY14" fmla="*/ 111498 h 265739"/>
                  <a:gd name="connsiteX15" fmla="*/ 41555 w 80818"/>
                  <a:gd name="connsiteY15" fmla="*/ 109418 h 265739"/>
                  <a:gd name="connsiteX16" fmla="*/ 43402 w 80818"/>
                  <a:gd name="connsiteY16" fmla="*/ 109418 h 265739"/>
                  <a:gd name="connsiteX17" fmla="*/ 29316 w 80818"/>
                  <a:gd name="connsiteY17" fmla="*/ 75912 h 265739"/>
                  <a:gd name="connsiteX18" fmla="*/ 37167 w 80818"/>
                  <a:gd name="connsiteY18" fmla="*/ 18143 h 265739"/>
                  <a:gd name="connsiteX19" fmla="*/ 77461 w 80818"/>
                  <a:gd name="connsiteY19" fmla="*/ 3 h 265739"/>
                  <a:gd name="connsiteX20" fmla="*/ 89006 w 80818"/>
                  <a:gd name="connsiteY20" fmla="*/ 11557 h 265739"/>
                  <a:gd name="connsiteX21" fmla="*/ 77461 w 80818"/>
                  <a:gd name="connsiteY21" fmla="*/ 23111 h 265739"/>
                  <a:gd name="connsiteX22" fmla="*/ 55755 w 80818"/>
                  <a:gd name="connsiteY22" fmla="*/ 32700 h 265739"/>
                  <a:gd name="connsiteX23" fmla="*/ 52407 w 80818"/>
                  <a:gd name="connsiteY23" fmla="*/ 70713 h 265739"/>
                  <a:gd name="connsiteX24" fmla="*/ 69841 w 80818"/>
                  <a:gd name="connsiteY24" fmla="*/ 101099 h 265739"/>
                  <a:gd name="connsiteX25" fmla="*/ 77230 w 80818"/>
                  <a:gd name="connsiteY25" fmla="*/ 104103 h 265739"/>
                  <a:gd name="connsiteX26" fmla="*/ 89699 w 80818"/>
                  <a:gd name="connsiteY26" fmla="*/ 118315 h 265739"/>
                  <a:gd name="connsiteX27" fmla="*/ 79655 w 80818"/>
                  <a:gd name="connsiteY27" fmla="*/ 128713 h 265739"/>
                  <a:gd name="connsiteX28" fmla="*/ 72958 w 80818"/>
                  <a:gd name="connsiteY28" fmla="*/ 129522 h 265739"/>
                  <a:gd name="connsiteX29" fmla="*/ 61990 w 80818"/>
                  <a:gd name="connsiteY29" fmla="*/ 130677 h 265739"/>
                  <a:gd name="connsiteX30" fmla="*/ 54024 w 80818"/>
                  <a:gd name="connsiteY30" fmla="*/ 131602 h 265739"/>
                  <a:gd name="connsiteX31" fmla="*/ 46173 w 80818"/>
                  <a:gd name="connsiteY31" fmla="*/ 132757 h 265739"/>
                  <a:gd name="connsiteX32" fmla="*/ 39246 w 80818"/>
                  <a:gd name="connsiteY32" fmla="*/ 134259 h 265739"/>
                  <a:gd name="connsiteX33" fmla="*/ 33357 w 80818"/>
                  <a:gd name="connsiteY33" fmla="*/ 136339 h 265739"/>
                  <a:gd name="connsiteX34" fmla="*/ 28970 w 80818"/>
                  <a:gd name="connsiteY34" fmla="*/ 138649 h 265739"/>
                  <a:gd name="connsiteX35" fmla="*/ 26315 w 80818"/>
                  <a:gd name="connsiteY35" fmla="*/ 141076 h 265739"/>
                  <a:gd name="connsiteX36" fmla="*/ 24929 w 80818"/>
                  <a:gd name="connsiteY36" fmla="*/ 143849 h 265739"/>
                  <a:gd name="connsiteX37" fmla="*/ 23890 w 80818"/>
                  <a:gd name="connsiteY37" fmla="*/ 154132 h 265739"/>
                  <a:gd name="connsiteX38" fmla="*/ 23890 w 80818"/>
                  <a:gd name="connsiteY38" fmla="*/ 155749 h 265739"/>
                  <a:gd name="connsiteX39" fmla="*/ 23890 w 80818"/>
                  <a:gd name="connsiteY39" fmla="*/ 158407 h 265739"/>
                  <a:gd name="connsiteX40" fmla="*/ 29547 w 80818"/>
                  <a:gd name="connsiteY40" fmla="*/ 162913 h 265739"/>
                  <a:gd name="connsiteX41" fmla="*/ 41093 w 80818"/>
                  <a:gd name="connsiteY41" fmla="*/ 172733 h 265739"/>
                  <a:gd name="connsiteX42" fmla="*/ 58295 w 80818"/>
                  <a:gd name="connsiteY42" fmla="*/ 212132 h 265739"/>
                  <a:gd name="connsiteX43" fmla="*/ 60143 w 80818"/>
                  <a:gd name="connsiteY43" fmla="*/ 236395 h 265739"/>
                  <a:gd name="connsiteX44" fmla="*/ 60143 w 80818"/>
                  <a:gd name="connsiteY44" fmla="*/ 245523 h 265739"/>
                  <a:gd name="connsiteX45" fmla="*/ 77576 w 80818"/>
                  <a:gd name="connsiteY45" fmla="*/ 245523 h 265739"/>
                  <a:gd name="connsiteX46" fmla="*/ 89122 w 80818"/>
                  <a:gd name="connsiteY46" fmla="*/ 257077 h 265739"/>
                  <a:gd name="connsiteX47" fmla="*/ 77576 w 80818"/>
                  <a:gd name="connsiteY47" fmla="*/ 268631 h 26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80818" h="265739">
                    <a:moveTo>
                      <a:pt x="77692" y="267937"/>
                    </a:moveTo>
                    <a:lnTo>
                      <a:pt x="53100" y="267937"/>
                    </a:lnTo>
                    <a:cubicBezTo>
                      <a:pt x="43991" y="267383"/>
                      <a:pt x="37006" y="259619"/>
                      <a:pt x="37398" y="250491"/>
                    </a:cubicBezTo>
                    <a:cubicBezTo>
                      <a:pt x="37398" y="245869"/>
                      <a:pt x="37398" y="241132"/>
                      <a:pt x="36821" y="236511"/>
                    </a:cubicBezTo>
                    <a:cubicBezTo>
                      <a:pt x="36648" y="229243"/>
                      <a:pt x="36117" y="221999"/>
                      <a:pt x="35205" y="214790"/>
                    </a:cubicBezTo>
                    <a:cubicBezTo>
                      <a:pt x="34246" y="204865"/>
                      <a:pt x="30205" y="195495"/>
                      <a:pt x="23659" y="187985"/>
                    </a:cubicBezTo>
                    <a:cubicBezTo>
                      <a:pt x="20969" y="185327"/>
                      <a:pt x="18083" y="182889"/>
                      <a:pt x="15000" y="180706"/>
                    </a:cubicBezTo>
                    <a:cubicBezTo>
                      <a:pt x="11871" y="178360"/>
                      <a:pt x="8869" y="175853"/>
                      <a:pt x="5995" y="173196"/>
                    </a:cubicBezTo>
                    <a:cubicBezTo>
                      <a:pt x="1388" y="168123"/>
                      <a:pt x="-725" y="161260"/>
                      <a:pt x="222" y="154478"/>
                    </a:cubicBezTo>
                    <a:lnTo>
                      <a:pt x="11767" y="153323"/>
                    </a:lnTo>
                    <a:lnTo>
                      <a:pt x="222" y="153323"/>
                    </a:lnTo>
                    <a:cubicBezTo>
                      <a:pt x="72" y="147350"/>
                      <a:pt x="857" y="141388"/>
                      <a:pt x="2531" y="135646"/>
                    </a:cubicBezTo>
                    <a:cubicBezTo>
                      <a:pt x="4875" y="128979"/>
                      <a:pt x="9285" y="123237"/>
                      <a:pt x="15116" y="119239"/>
                    </a:cubicBezTo>
                    <a:cubicBezTo>
                      <a:pt x="17748" y="117367"/>
                      <a:pt x="20577" y="115784"/>
                      <a:pt x="23544" y="114502"/>
                    </a:cubicBezTo>
                    <a:cubicBezTo>
                      <a:pt x="26465" y="113254"/>
                      <a:pt x="29467" y="112260"/>
                      <a:pt x="32549" y="111498"/>
                    </a:cubicBezTo>
                    <a:cubicBezTo>
                      <a:pt x="35505" y="110631"/>
                      <a:pt x="38518" y="109938"/>
                      <a:pt x="41555" y="109418"/>
                    </a:cubicBezTo>
                    <a:lnTo>
                      <a:pt x="43402" y="109418"/>
                    </a:lnTo>
                    <a:cubicBezTo>
                      <a:pt x="36324" y="99401"/>
                      <a:pt x="31522" y="87974"/>
                      <a:pt x="29316" y="75912"/>
                    </a:cubicBezTo>
                    <a:cubicBezTo>
                      <a:pt x="23428" y="51302"/>
                      <a:pt x="25968" y="31776"/>
                      <a:pt x="37167" y="18143"/>
                    </a:cubicBezTo>
                    <a:cubicBezTo>
                      <a:pt x="47293" y="6473"/>
                      <a:pt x="62025" y="-159"/>
                      <a:pt x="77461" y="3"/>
                    </a:cubicBezTo>
                    <a:cubicBezTo>
                      <a:pt x="83834" y="3"/>
                      <a:pt x="89006" y="5179"/>
                      <a:pt x="89006" y="11557"/>
                    </a:cubicBezTo>
                    <a:cubicBezTo>
                      <a:pt x="89006" y="17935"/>
                      <a:pt x="83834" y="23111"/>
                      <a:pt x="77461" y="23111"/>
                    </a:cubicBezTo>
                    <a:cubicBezTo>
                      <a:pt x="69206" y="23122"/>
                      <a:pt x="61332" y="26600"/>
                      <a:pt x="55755" y="32700"/>
                    </a:cubicBezTo>
                    <a:cubicBezTo>
                      <a:pt x="49290" y="40673"/>
                      <a:pt x="48136" y="53382"/>
                      <a:pt x="52407" y="70713"/>
                    </a:cubicBezTo>
                    <a:cubicBezTo>
                      <a:pt x="56679" y="88043"/>
                      <a:pt x="60374" y="97171"/>
                      <a:pt x="69841" y="101099"/>
                    </a:cubicBezTo>
                    <a:lnTo>
                      <a:pt x="77230" y="104103"/>
                    </a:lnTo>
                    <a:cubicBezTo>
                      <a:pt x="82887" y="106183"/>
                      <a:pt x="90623" y="109187"/>
                      <a:pt x="89699" y="118315"/>
                    </a:cubicBezTo>
                    <a:cubicBezTo>
                      <a:pt x="89006" y="123618"/>
                      <a:pt x="84931" y="127847"/>
                      <a:pt x="79655" y="128713"/>
                    </a:cubicBezTo>
                    <a:cubicBezTo>
                      <a:pt x="77923" y="128713"/>
                      <a:pt x="75267" y="129291"/>
                      <a:pt x="72958" y="129522"/>
                    </a:cubicBezTo>
                    <a:lnTo>
                      <a:pt x="61990" y="130677"/>
                    </a:lnTo>
                    <a:lnTo>
                      <a:pt x="54024" y="131602"/>
                    </a:lnTo>
                    <a:lnTo>
                      <a:pt x="46173" y="132757"/>
                    </a:lnTo>
                    <a:lnTo>
                      <a:pt x="39246" y="134259"/>
                    </a:lnTo>
                    <a:cubicBezTo>
                      <a:pt x="37237" y="134814"/>
                      <a:pt x="35274" y="135507"/>
                      <a:pt x="33357" y="136339"/>
                    </a:cubicBezTo>
                    <a:cubicBezTo>
                      <a:pt x="31822" y="136963"/>
                      <a:pt x="30356" y="137737"/>
                      <a:pt x="28970" y="138649"/>
                    </a:cubicBezTo>
                    <a:cubicBezTo>
                      <a:pt x="28012" y="139366"/>
                      <a:pt x="27123" y="140186"/>
                      <a:pt x="26315" y="141076"/>
                    </a:cubicBezTo>
                    <a:cubicBezTo>
                      <a:pt x="25714" y="141931"/>
                      <a:pt x="25252" y="142855"/>
                      <a:pt x="24929" y="143849"/>
                    </a:cubicBezTo>
                    <a:cubicBezTo>
                      <a:pt x="24121" y="147211"/>
                      <a:pt x="23775" y="150677"/>
                      <a:pt x="23890" y="154132"/>
                    </a:cubicBezTo>
                    <a:lnTo>
                      <a:pt x="23890" y="155749"/>
                    </a:lnTo>
                    <a:cubicBezTo>
                      <a:pt x="23832" y="156639"/>
                      <a:pt x="23832" y="157517"/>
                      <a:pt x="23890" y="158407"/>
                    </a:cubicBezTo>
                    <a:cubicBezTo>
                      <a:pt x="25691" y="160001"/>
                      <a:pt x="27585" y="161515"/>
                      <a:pt x="29547" y="162913"/>
                    </a:cubicBezTo>
                    <a:cubicBezTo>
                      <a:pt x="33611" y="165917"/>
                      <a:pt x="37479" y="169198"/>
                      <a:pt x="41093" y="172733"/>
                    </a:cubicBezTo>
                    <a:cubicBezTo>
                      <a:pt x="50860" y="183710"/>
                      <a:pt x="56875" y="197505"/>
                      <a:pt x="58295" y="212132"/>
                    </a:cubicBezTo>
                    <a:cubicBezTo>
                      <a:pt x="59358" y="220185"/>
                      <a:pt x="59970" y="228284"/>
                      <a:pt x="60143" y="236395"/>
                    </a:cubicBezTo>
                    <a:cubicBezTo>
                      <a:pt x="60143" y="239399"/>
                      <a:pt x="60143" y="242519"/>
                      <a:pt x="60143" y="245523"/>
                    </a:cubicBezTo>
                    <a:lnTo>
                      <a:pt x="77576" y="245523"/>
                    </a:lnTo>
                    <a:cubicBezTo>
                      <a:pt x="83949" y="245523"/>
                      <a:pt x="89122" y="250699"/>
                      <a:pt x="89122" y="257077"/>
                    </a:cubicBezTo>
                    <a:cubicBezTo>
                      <a:pt x="89122" y="263455"/>
                      <a:pt x="83949" y="268631"/>
                      <a:pt x="77576" y="268631"/>
                    </a:cubicBezTo>
                    <a:close/>
                  </a:path>
                </a:pathLst>
              </a:custGeom>
              <a:grpFill/>
              <a:ln w="115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87" name="Freeform 340">
                <a:extLst>
                  <a:ext uri="{FF2B5EF4-FFF2-40B4-BE49-F238E27FC236}">
                    <a16:creationId xmlns:a16="http://schemas.microsoft.com/office/drawing/2014/main" id="{08CD3BF3-D856-4342-AD84-5DA004D38EC7}"/>
                  </a:ext>
                </a:extLst>
              </p:cNvPr>
              <p:cNvSpPr/>
              <p:nvPr/>
            </p:nvSpPr>
            <p:spPr>
              <a:xfrm>
                <a:off x="3307772" y="2525875"/>
                <a:ext cx="103909" cy="381278"/>
              </a:xfrm>
              <a:custGeom>
                <a:avLst/>
                <a:gdLst>
                  <a:gd name="connsiteX0" fmla="*/ 58035 w 103909"/>
                  <a:gd name="connsiteY0" fmla="*/ 391215 h 381278"/>
                  <a:gd name="connsiteX1" fmla="*/ 46489 w 103909"/>
                  <a:gd name="connsiteY1" fmla="*/ 383012 h 381278"/>
                  <a:gd name="connsiteX2" fmla="*/ 42217 w 103909"/>
                  <a:gd name="connsiteY2" fmla="*/ 280414 h 381278"/>
                  <a:gd name="connsiteX3" fmla="*/ 64154 w 103909"/>
                  <a:gd name="connsiteY3" fmla="*/ 229808 h 381278"/>
                  <a:gd name="connsiteX4" fmla="*/ 79047 w 103909"/>
                  <a:gd name="connsiteY4" fmla="*/ 217098 h 381278"/>
                  <a:gd name="connsiteX5" fmla="*/ 88053 w 103909"/>
                  <a:gd name="connsiteY5" fmla="*/ 209819 h 381278"/>
                  <a:gd name="connsiteX6" fmla="*/ 88053 w 103909"/>
                  <a:gd name="connsiteY6" fmla="*/ 204158 h 381278"/>
                  <a:gd name="connsiteX7" fmla="*/ 88053 w 103909"/>
                  <a:gd name="connsiteY7" fmla="*/ 202656 h 381278"/>
                  <a:gd name="connsiteX8" fmla="*/ 86436 w 103909"/>
                  <a:gd name="connsiteY8" fmla="*/ 187174 h 381278"/>
                  <a:gd name="connsiteX9" fmla="*/ 83896 w 103909"/>
                  <a:gd name="connsiteY9" fmla="*/ 182321 h 381278"/>
                  <a:gd name="connsiteX10" fmla="*/ 79509 w 103909"/>
                  <a:gd name="connsiteY10" fmla="*/ 178277 h 381278"/>
                  <a:gd name="connsiteX11" fmla="*/ 73044 w 103909"/>
                  <a:gd name="connsiteY11" fmla="*/ 174811 h 381278"/>
                  <a:gd name="connsiteX12" fmla="*/ 64731 w 103909"/>
                  <a:gd name="connsiteY12" fmla="*/ 171923 h 381278"/>
                  <a:gd name="connsiteX13" fmla="*/ 54917 w 103909"/>
                  <a:gd name="connsiteY13" fmla="*/ 169727 h 381278"/>
                  <a:gd name="connsiteX14" fmla="*/ 44411 w 103909"/>
                  <a:gd name="connsiteY14" fmla="*/ 168225 h 381278"/>
                  <a:gd name="connsiteX15" fmla="*/ 33558 w 103909"/>
                  <a:gd name="connsiteY15" fmla="*/ 166955 h 381278"/>
                  <a:gd name="connsiteX16" fmla="*/ 19011 w 103909"/>
                  <a:gd name="connsiteY16" fmla="*/ 165452 h 381278"/>
                  <a:gd name="connsiteX17" fmla="*/ 10121 w 103909"/>
                  <a:gd name="connsiteY17" fmla="*/ 164413 h 381278"/>
                  <a:gd name="connsiteX18" fmla="*/ 76 w 103909"/>
                  <a:gd name="connsiteY18" fmla="*/ 153899 h 381278"/>
                  <a:gd name="connsiteX19" fmla="*/ 14162 w 103909"/>
                  <a:gd name="connsiteY19" fmla="*/ 138878 h 381278"/>
                  <a:gd name="connsiteX20" fmla="*/ 24206 w 103909"/>
                  <a:gd name="connsiteY20" fmla="*/ 134950 h 381278"/>
                  <a:gd name="connsiteX21" fmla="*/ 49837 w 103909"/>
                  <a:gd name="connsiteY21" fmla="*/ 91623 h 381278"/>
                  <a:gd name="connsiteX22" fmla="*/ 44642 w 103909"/>
                  <a:gd name="connsiteY22" fmla="*/ 37435 h 381278"/>
                  <a:gd name="connsiteX23" fmla="*/ 12314 w 103909"/>
                  <a:gd name="connsiteY23" fmla="*/ 23109 h 381278"/>
                  <a:gd name="connsiteX24" fmla="*/ 480 w 103909"/>
                  <a:gd name="connsiteY24" fmla="*/ 11844 h 381278"/>
                  <a:gd name="connsiteX25" fmla="*/ 11737 w 103909"/>
                  <a:gd name="connsiteY25" fmla="*/ 1 h 381278"/>
                  <a:gd name="connsiteX26" fmla="*/ 62537 w 103909"/>
                  <a:gd name="connsiteY26" fmla="*/ 23109 h 381278"/>
                  <a:gd name="connsiteX27" fmla="*/ 72351 w 103909"/>
                  <a:gd name="connsiteY27" fmla="*/ 97285 h 381278"/>
                  <a:gd name="connsiteX28" fmla="*/ 49260 w 103909"/>
                  <a:gd name="connsiteY28" fmla="*/ 145811 h 381278"/>
                  <a:gd name="connsiteX29" fmla="*/ 58958 w 103909"/>
                  <a:gd name="connsiteY29" fmla="*/ 147313 h 381278"/>
                  <a:gd name="connsiteX30" fmla="*/ 70504 w 103909"/>
                  <a:gd name="connsiteY30" fmla="*/ 149855 h 381278"/>
                  <a:gd name="connsiteX31" fmla="*/ 82049 w 103909"/>
                  <a:gd name="connsiteY31" fmla="*/ 153783 h 381278"/>
                  <a:gd name="connsiteX32" fmla="*/ 92671 w 103909"/>
                  <a:gd name="connsiteY32" fmla="*/ 159676 h 381278"/>
                  <a:gd name="connsiteX33" fmla="*/ 101907 w 103909"/>
                  <a:gd name="connsiteY33" fmla="*/ 168225 h 381278"/>
                  <a:gd name="connsiteX34" fmla="*/ 108142 w 103909"/>
                  <a:gd name="connsiteY34" fmla="*/ 179779 h 381278"/>
                  <a:gd name="connsiteX35" fmla="*/ 111028 w 103909"/>
                  <a:gd name="connsiteY35" fmla="*/ 202194 h 381278"/>
                  <a:gd name="connsiteX36" fmla="*/ 111028 w 103909"/>
                  <a:gd name="connsiteY36" fmla="*/ 203811 h 381278"/>
                  <a:gd name="connsiteX37" fmla="*/ 104563 w 103909"/>
                  <a:gd name="connsiteY37" fmla="*/ 226110 h 381278"/>
                  <a:gd name="connsiteX38" fmla="*/ 93017 w 103909"/>
                  <a:gd name="connsiteY38" fmla="*/ 235700 h 381278"/>
                  <a:gd name="connsiteX39" fmla="*/ 81472 w 103909"/>
                  <a:gd name="connsiteY39" fmla="*/ 245983 h 381278"/>
                  <a:gd name="connsiteX40" fmla="*/ 65539 w 103909"/>
                  <a:gd name="connsiteY40" fmla="*/ 283880 h 381278"/>
                  <a:gd name="connsiteX41" fmla="*/ 69118 w 103909"/>
                  <a:gd name="connsiteY41" fmla="*/ 376311 h 381278"/>
                  <a:gd name="connsiteX42" fmla="*/ 61383 w 103909"/>
                  <a:gd name="connsiteY42" fmla="*/ 390638 h 381278"/>
                  <a:gd name="connsiteX43" fmla="*/ 58035 w 103909"/>
                  <a:gd name="connsiteY43" fmla="*/ 391215 h 381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03909" h="381278">
                    <a:moveTo>
                      <a:pt x="58035" y="391215"/>
                    </a:moveTo>
                    <a:cubicBezTo>
                      <a:pt x="52770" y="391446"/>
                      <a:pt x="48013" y="388061"/>
                      <a:pt x="46489" y="383012"/>
                    </a:cubicBezTo>
                    <a:cubicBezTo>
                      <a:pt x="38107" y="349460"/>
                      <a:pt x="36652" y="314544"/>
                      <a:pt x="42217" y="280414"/>
                    </a:cubicBezTo>
                    <a:cubicBezTo>
                      <a:pt x="44041" y="261662"/>
                      <a:pt x="51719" y="243950"/>
                      <a:pt x="64154" y="229808"/>
                    </a:cubicBezTo>
                    <a:cubicBezTo>
                      <a:pt x="68772" y="225186"/>
                      <a:pt x="73759" y="220934"/>
                      <a:pt x="79047" y="217098"/>
                    </a:cubicBezTo>
                    <a:cubicBezTo>
                      <a:pt x="82049" y="214788"/>
                      <a:pt x="85166" y="212477"/>
                      <a:pt x="88053" y="209819"/>
                    </a:cubicBezTo>
                    <a:cubicBezTo>
                      <a:pt x="88168" y="207936"/>
                      <a:pt x="88168" y="206041"/>
                      <a:pt x="88053" y="204158"/>
                    </a:cubicBezTo>
                    <a:lnTo>
                      <a:pt x="88053" y="202656"/>
                    </a:lnTo>
                    <a:cubicBezTo>
                      <a:pt x="88249" y="197445"/>
                      <a:pt x="87706" y="192234"/>
                      <a:pt x="86436" y="187174"/>
                    </a:cubicBezTo>
                    <a:cubicBezTo>
                      <a:pt x="85894" y="185418"/>
                      <a:pt x="85028" y="183765"/>
                      <a:pt x="83896" y="182321"/>
                    </a:cubicBezTo>
                    <a:cubicBezTo>
                      <a:pt x="82603" y="180807"/>
                      <a:pt x="81125" y="179444"/>
                      <a:pt x="79509" y="178277"/>
                    </a:cubicBezTo>
                    <a:cubicBezTo>
                      <a:pt x="77489" y="176891"/>
                      <a:pt x="75318" y="175724"/>
                      <a:pt x="73044" y="174811"/>
                    </a:cubicBezTo>
                    <a:cubicBezTo>
                      <a:pt x="70330" y="173679"/>
                      <a:pt x="67560" y="172708"/>
                      <a:pt x="64731" y="171923"/>
                    </a:cubicBezTo>
                    <a:cubicBezTo>
                      <a:pt x="61498" y="170998"/>
                      <a:pt x="58265" y="170421"/>
                      <a:pt x="54917" y="169727"/>
                    </a:cubicBezTo>
                    <a:lnTo>
                      <a:pt x="44411" y="168225"/>
                    </a:lnTo>
                    <a:lnTo>
                      <a:pt x="33558" y="166955"/>
                    </a:lnTo>
                    <a:lnTo>
                      <a:pt x="19011" y="165452"/>
                    </a:lnTo>
                    <a:lnTo>
                      <a:pt x="10121" y="164413"/>
                    </a:lnTo>
                    <a:cubicBezTo>
                      <a:pt x="4833" y="163488"/>
                      <a:pt x="757" y="159225"/>
                      <a:pt x="76" y="153899"/>
                    </a:cubicBezTo>
                    <a:cubicBezTo>
                      <a:pt x="-847" y="144655"/>
                      <a:pt x="6773" y="142345"/>
                      <a:pt x="14162" y="138878"/>
                    </a:cubicBezTo>
                    <a:cubicBezTo>
                      <a:pt x="16933" y="137839"/>
                      <a:pt x="20396" y="136568"/>
                      <a:pt x="24206" y="134950"/>
                    </a:cubicBezTo>
                    <a:cubicBezTo>
                      <a:pt x="39908" y="128365"/>
                      <a:pt x="45104" y="111842"/>
                      <a:pt x="49837" y="91623"/>
                    </a:cubicBezTo>
                    <a:cubicBezTo>
                      <a:pt x="55725" y="67244"/>
                      <a:pt x="53994" y="48989"/>
                      <a:pt x="44642" y="37435"/>
                    </a:cubicBezTo>
                    <a:cubicBezTo>
                      <a:pt x="36306" y="28389"/>
                      <a:pt x="24610" y="23201"/>
                      <a:pt x="12314" y="23109"/>
                    </a:cubicBezTo>
                    <a:cubicBezTo>
                      <a:pt x="5941" y="23270"/>
                      <a:pt x="642" y="18221"/>
                      <a:pt x="480" y="11844"/>
                    </a:cubicBezTo>
                    <a:cubicBezTo>
                      <a:pt x="319" y="5466"/>
                      <a:pt x="5364" y="163"/>
                      <a:pt x="11737" y="1"/>
                    </a:cubicBezTo>
                    <a:cubicBezTo>
                      <a:pt x="31238" y="-103"/>
                      <a:pt x="49803" y="8343"/>
                      <a:pt x="62537" y="23109"/>
                    </a:cubicBezTo>
                    <a:cubicBezTo>
                      <a:pt x="76738" y="40555"/>
                      <a:pt x="79971" y="65511"/>
                      <a:pt x="72351" y="97285"/>
                    </a:cubicBezTo>
                    <a:cubicBezTo>
                      <a:pt x="69337" y="115309"/>
                      <a:pt x="61337" y="132120"/>
                      <a:pt x="49260" y="145811"/>
                    </a:cubicBezTo>
                    <a:cubicBezTo>
                      <a:pt x="52493" y="145811"/>
                      <a:pt x="55725" y="146735"/>
                      <a:pt x="58958" y="147313"/>
                    </a:cubicBezTo>
                    <a:cubicBezTo>
                      <a:pt x="62191" y="147890"/>
                      <a:pt x="66809" y="148815"/>
                      <a:pt x="70504" y="149855"/>
                    </a:cubicBezTo>
                    <a:cubicBezTo>
                      <a:pt x="74441" y="150872"/>
                      <a:pt x="78308" y="152189"/>
                      <a:pt x="82049" y="153783"/>
                    </a:cubicBezTo>
                    <a:cubicBezTo>
                      <a:pt x="85790" y="155366"/>
                      <a:pt x="89346" y="157342"/>
                      <a:pt x="92671" y="159676"/>
                    </a:cubicBezTo>
                    <a:cubicBezTo>
                      <a:pt x="96123" y="162102"/>
                      <a:pt x="99229" y="164967"/>
                      <a:pt x="101907" y="168225"/>
                    </a:cubicBezTo>
                    <a:cubicBezTo>
                      <a:pt x="104655" y="171680"/>
                      <a:pt x="106756" y="175585"/>
                      <a:pt x="108142" y="179779"/>
                    </a:cubicBezTo>
                    <a:cubicBezTo>
                      <a:pt x="110312" y="187047"/>
                      <a:pt x="111282" y="194614"/>
                      <a:pt x="111028" y="202194"/>
                    </a:cubicBezTo>
                    <a:lnTo>
                      <a:pt x="111028" y="203811"/>
                    </a:lnTo>
                    <a:cubicBezTo>
                      <a:pt x="112102" y="211818"/>
                      <a:pt x="109758" y="219917"/>
                      <a:pt x="104563" y="226110"/>
                    </a:cubicBezTo>
                    <a:cubicBezTo>
                      <a:pt x="100868" y="229577"/>
                      <a:pt x="96827" y="232580"/>
                      <a:pt x="93017" y="235700"/>
                    </a:cubicBezTo>
                    <a:cubicBezTo>
                      <a:pt x="88907" y="238820"/>
                      <a:pt x="85039" y="242251"/>
                      <a:pt x="81472" y="245983"/>
                    </a:cubicBezTo>
                    <a:cubicBezTo>
                      <a:pt x="72328" y="256636"/>
                      <a:pt x="66763" y="269888"/>
                      <a:pt x="65539" y="283880"/>
                    </a:cubicBezTo>
                    <a:cubicBezTo>
                      <a:pt x="60413" y="314613"/>
                      <a:pt x="61625" y="346074"/>
                      <a:pt x="69118" y="376311"/>
                    </a:cubicBezTo>
                    <a:cubicBezTo>
                      <a:pt x="70908" y="382400"/>
                      <a:pt x="67456" y="388801"/>
                      <a:pt x="61383" y="390638"/>
                    </a:cubicBezTo>
                    <a:cubicBezTo>
                      <a:pt x="60297" y="390996"/>
                      <a:pt x="59178" y="391192"/>
                      <a:pt x="58035" y="391215"/>
                    </a:cubicBezTo>
                    <a:close/>
                  </a:path>
                </a:pathLst>
              </a:custGeom>
              <a:grpFill/>
              <a:ln w="115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88" name="Freeform 341">
                <a:extLst>
                  <a:ext uri="{FF2B5EF4-FFF2-40B4-BE49-F238E27FC236}">
                    <a16:creationId xmlns:a16="http://schemas.microsoft.com/office/drawing/2014/main" id="{7571DE00-14CD-48C2-8891-4B26A1E620CF}"/>
                  </a:ext>
                </a:extLst>
              </p:cNvPr>
              <p:cNvSpPr/>
              <p:nvPr/>
            </p:nvSpPr>
            <p:spPr>
              <a:xfrm>
                <a:off x="3376285" y="2746466"/>
                <a:ext cx="57727" cy="92431"/>
              </a:xfrm>
              <a:custGeom>
                <a:avLst/>
                <a:gdLst>
                  <a:gd name="connsiteX0" fmla="*/ 57871 w 57727"/>
                  <a:gd name="connsiteY0" fmla="*/ 100261 h 92431"/>
                  <a:gd name="connsiteX1" fmla="*/ 33394 w 57727"/>
                  <a:gd name="connsiteY1" fmla="*/ 100261 h 92431"/>
                  <a:gd name="connsiteX2" fmla="*/ 17693 w 57727"/>
                  <a:gd name="connsiteY2" fmla="*/ 82815 h 92431"/>
                  <a:gd name="connsiteX3" fmla="*/ 17000 w 57727"/>
                  <a:gd name="connsiteY3" fmla="*/ 68834 h 92431"/>
                  <a:gd name="connsiteX4" fmla="*/ 15499 w 57727"/>
                  <a:gd name="connsiteY4" fmla="*/ 47113 h 92431"/>
                  <a:gd name="connsiteX5" fmla="*/ 3954 w 57727"/>
                  <a:gd name="connsiteY5" fmla="*/ 20308 h 92431"/>
                  <a:gd name="connsiteX6" fmla="*/ 2845 w 57727"/>
                  <a:gd name="connsiteY6" fmla="*/ 4006 h 92431"/>
                  <a:gd name="connsiteX7" fmla="*/ 3261 w 57727"/>
                  <a:gd name="connsiteY7" fmla="*/ 3555 h 92431"/>
                  <a:gd name="connsiteX8" fmla="*/ 19194 w 57727"/>
                  <a:gd name="connsiteY8" fmla="*/ 2862 h 92431"/>
                  <a:gd name="connsiteX9" fmla="*/ 20695 w 57727"/>
                  <a:gd name="connsiteY9" fmla="*/ 4479 h 92431"/>
                  <a:gd name="connsiteX10" fmla="*/ 37897 w 57727"/>
                  <a:gd name="connsiteY10" fmla="*/ 43762 h 92431"/>
                  <a:gd name="connsiteX11" fmla="*/ 39629 w 57727"/>
                  <a:gd name="connsiteY11" fmla="*/ 68026 h 92431"/>
                  <a:gd name="connsiteX12" fmla="*/ 39629 w 57727"/>
                  <a:gd name="connsiteY12" fmla="*/ 77153 h 92431"/>
                  <a:gd name="connsiteX13" fmla="*/ 57063 w 57727"/>
                  <a:gd name="connsiteY13" fmla="*/ 77153 h 92431"/>
                  <a:gd name="connsiteX14" fmla="*/ 68608 w 57727"/>
                  <a:gd name="connsiteY14" fmla="*/ 88707 h 92431"/>
                  <a:gd name="connsiteX15" fmla="*/ 57063 w 57727"/>
                  <a:gd name="connsiteY15" fmla="*/ 100261 h 9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727" h="92431">
                    <a:moveTo>
                      <a:pt x="57871" y="100261"/>
                    </a:moveTo>
                    <a:lnTo>
                      <a:pt x="33394" y="100261"/>
                    </a:lnTo>
                    <a:cubicBezTo>
                      <a:pt x="24285" y="99706"/>
                      <a:pt x="17300" y="91942"/>
                      <a:pt x="17693" y="82815"/>
                    </a:cubicBezTo>
                    <a:cubicBezTo>
                      <a:pt x="17693" y="78193"/>
                      <a:pt x="17116" y="73456"/>
                      <a:pt x="17000" y="68834"/>
                    </a:cubicBezTo>
                    <a:cubicBezTo>
                      <a:pt x="16931" y="61567"/>
                      <a:pt x="16423" y="54323"/>
                      <a:pt x="15499" y="47113"/>
                    </a:cubicBezTo>
                    <a:cubicBezTo>
                      <a:pt x="14483" y="37211"/>
                      <a:pt x="10454" y="27853"/>
                      <a:pt x="3954" y="20308"/>
                    </a:cubicBezTo>
                    <a:cubicBezTo>
                      <a:pt x="-849" y="16114"/>
                      <a:pt x="-1346" y="8812"/>
                      <a:pt x="2845" y="4006"/>
                    </a:cubicBezTo>
                    <a:cubicBezTo>
                      <a:pt x="2984" y="3855"/>
                      <a:pt x="3122" y="3705"/>
                      <a:pt x="3261" y="3555"/>
                    </a:cubicBezTo>
                    <a:cubicBezTo>
                      <a:pt x="7533" y="-905"/>
                      <a:pt x="14552" y="-1205"/>
                      <a:pt x="19194" y="2862"/>
                    </a:cubicBezTo>
                    <a:lnTo>
                      <a:pt x="20695" y="4479"/>
                    </a:lnTo>
                    <a:cubicBezTo>
                      <a:pt x="30358" y="15467"/>
                      <a:pt x="36373" y="29205"/>
                      <a:pt x="37897" y="43762"/>
                    </a:cubicBezTo>
                    <a:cubicBezTo>
                      <a:pt x="38913" y="51816"/>
                      <a:pt x="39490" y="59915"/>
                      <a:pt x="39629" y="68026"/>
                    </a:cubicBezTo>
                    <a:lnTo>
                      <a:pt x="39629" y="77153"/>
                    </a:lnTo>
                    <a:lnTo>
                      <a:pt x="57063" y="77153"/>
                    </a:lnTo>
                    <a:cubicBezTo>
                      <a:pt x="63436" y="77153"/>
                      <a:pt x="68608" y="82329"/>
                      <a:pt x="68608" y="88707"/>
                    </a:cubicBezTo>
                    <a:cubicBezTo>
                      <a:pt x="68608" y="95085"/>
                      <a:pt x="63436" y="100261"/>
                      <a:pt x="57063" y="100261"/>
                    </a:cubicBezTo>
                    <a:close/>
                  </a:path>
                </a:pathLst>
              </a:custGeom>
              <a:grpFill/>
              <a:ln w="115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89" name="Freeform 342">
                <a:extLst>
                  <a:ext uri="{FF2B5EF4-FFF2-40B4-BE49-F238E27FC236}">
                    <a16:creationId xmlns:a16="http://schemas.microsoft.com/office/drawing/2014/main" id="{B170DC76-C9C7-42A5-BA91-75925D12B36B}"/>
                  </a:ext>
                </a:extLst>
              </p:cNvPr>
              <p:cNvSpPr/>
              <p:nvPr/>
            </p:nvSpPr>
            <p:spPr>
              <a:xfrm>
                <a:off x="3383231" y="2578445"/>
                <a:ext cx="57727" cy="127093"/>
              </a:xfrm>
              <a:custGeom>
                <a:avLst/>
                <a:gdLst>
                  <a:gd name="connsiteX0" fmla="*/ 17328 w 57727"/>
                  <a:gd name="connsiteY0" fmla="*/ 132524 h 127092"/>
                  <a:gd name="connsiteX1" fmla="*/ 4743 w 57727"/>
                  <a:gd name="connsiteY1" fmla="*/ 122010 h 127092"/>
                  <a:gd name="connsiteX2" fmla="*/ 15249 w 57727"/>
                  <a:gd name="connsiteY2" fmla="*/ 109416 h 127092"/>
                  <a:gd name="connsiteX3" fmla="*/ 17212 w 57727"/>
                  <a:gd name="connsiteY3" fmla="*/ 109416 h 127092"/>
                  <a:gd name="connsiteX4" fmla="*/ 3127 w 57727"/>
                  <a:gd name="connsiteY4" fmla="*/ 75910 h 127092"/>
                  <a:gd name="connsiteX5" fmla="*/ 10978 w 57727"/>
                  <a:gd name="connsiteY5" fmla="*/ 18140 h 127092"/>
                  <a:gd name="connsiteX6" fmla="*/ 51156 w 57727"/>
                  <a:gd name="connsiteY6" fmla="*/ 1 h 127092"/>
                  <a:gd name="connsiteX7" fmla="*/ 62701 w 57727"/>
                  <a:gd name="connsiteY7" fmla="*/ 11555 h 127092"/>
                  <a:gd name="connsiteX8" fmla="*/ 51156 w 57727"/>
                  <a:gd name="connsiteY8" fmla="*/ 23108 h 127092"/>
                  <a:gd name="connsiteX9" fmla="*/ 29335 w 57727"/>
                  <a:gd name="connsiteY9" fmla="*/ 32698 h 127092"/>
                  <a:gd name="connsiteX10" fmla="*/ 25987 w 57727"/>
                  <a:gd name="connsiteY10" fmla="*/ 70711 h 127092"/>
                  <a:gd name="connsiteX11" fmla="*/ 43536 w 57727"/>
                  <a:gd name="connsiteY11" fmla="*/ 101097 h 127092"/>
                  <a:gd name="connsiteX12" fmla="*/ 50925 w 57727"/>
                  <a:gd name="connsiteY12" fmla="*/ 104101 h 127092"/>
                  <a:gd name="connsiteX13" fmla="*/ 63278 w 57727"/>
                  <a:gd name="connsiteY13" fmla="*/ 118313 h 127092"/>
                  <a:gd name="connsiteX14" fmla="*/ 53234 w 57727"/>
                  <a:gd name="connsiteY14" fmla="*/ 128711 h 127092"/>
                  <a:gd name="connsiteX15" fmla="*/ 46422 w 57727"/>
                  <a:gd name="connsiteY15" fmla="*/ 129520 h 127092"/>
                  <a:gd name="connsiteX16" fmla="*/ 35685 w 57727"/>
                  <a:gd name="connsiteY16" fmla="*/ 130675 h 127092"/>
                  <a:gd name="connsiteX17" fmla="*/ 27603 w 57727"/>
                  <a:gd name="connsiteY17" fmla="*/ 131599 h 127092"/>
                  <a:gd name="connsiteX18" fmla="*/ 19868 w 57727"/>
                  <a:gd name="connsiteY18" fmla="*/ 132755 h 127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27" h="127092">
                    <a:moveTo>
                      <a:pt x="17328" y="132524"/>
                    </a:moveTo>
                    <a:cubicBezTo>
                      <a:pt x="10955" y="133101"/>
                      <a:pt x="5320" y="128387"/>
                      <a:pt x="4743" y="122010"/>
                    </a:cubicBezTo>
                    <a:cubicBezTo>
                      <a:pt x="4166" y="115632"/>
                      <a:pt x="8876" y="109994"/>
                      <a:pt x="15249" y="109416"/>
                    </a:cubicBezTo>
                    <a:lnTo>
                      <a:pt x="17212" y="109416"/>
                    </a:lnTo>
                    <a:cubicBezTo>
                      <a:pt x="10042" y="99457"/>
                      <a:pt x="5216" y="88007"/>
                      <a:pt x="3127" y="75910"/>
                    </a:cubicBezTo>
                    <a:cubicBezTo>
                      <a:pt x="-2877" y="51300"/>
                      <a:pt x="-222" y="31774"/>
                      <a:pt x="10978" y="18140"/>
                    </a:cubicBezTo>
                    <a:cubicBezTo>
                      <a:pt x="21103" y="6540"/>
                      <a:pt x="35766" y="-80"/>
                      <a:pt x="51156" y="1"/>
                    </a:cubicBezTo>
                    <a:cubicBezTo>
                      <a:pt x="57529" y="1"/>
                      <a:pt x="62701" y="5177"/>
                      <a:pt x="62701" y="11555"/>
                    </a:cubicBezTo>
                    <a:cubicBezTo>
                      <a:pt x="62701" y="17932"/>
                      <a:pt x="57529" y="23108"/>
                      <a:pt x="51156" y="23108"/>
                    </a:cubicBezTo>
                    <a:cubicBezTo>
                      <a:pt x="42889" y="23259"/>
                      <a:pt x="35038" y="26713"/>
                      <a:pt x="29335" y="32698"/>
                    </a:cubicBezTo>
                    <a:cubicBezTo>
                      <a:pt x="22985" y="40670"/>
                      <a:pt x="21830" y="53495"/>
                      <a:pt x="25987" y="70711"/>
                    </a:cubicBezTo>
                    <a:cubicBezTo>
                      <a:pt x="30143" y="87926"/>
                      <a:pt x="33953" y="97169"/>
                      <a:pt x="43536" y="101097"/>
                    </a:cubicBezTo>
                    <a:cubicBezTo>
                      <a:pt x="46307" y="102368"/>
                      <a:pt x="48847" y="103292"/>
                      <a:pt x="50925" y="104101"/>
                    </a:cubicBezTo>
                    <a:cubicBezTo>
                      <a:pt x="56236" y="106065"/>
                      <a:pt x="64202" y="109185"/>
                      <a:pt x="63278" y="118313"/>
                    </a:cubicBezTo>
                    <a:cubicBezTo>
                      <a:pt x="62782" y="123708"/>
                      <a:pt x="58603" y="128029"/>
                      <a:pt x="53234" y="128711"/>
                    </a:cubicBezTo>
                    <a:cubicBezTo>
                      <a:pt x="51502" y="128711"/>
                      <a:pt x="48847" y="129289"/>
                      <a:pt x="46422" y="129520"/>
                    </a:cubicBezTo>
                    <a:lnTo>
                      <a:pt x="35685" y="130675"/>
                    </a:lnTo>
                    <a:lnTo>
                      <a:pt x="27603" y="131599"/>
                    </a:lnTo>
                    <a:lnTo>
                      <a:pt x="19868" y="132755"/>
                    </a:lnTo>
                    <a:close/>
                  </a:path>
                </a:pathLst>
              </a:custGeom>
              <a:grpFill/>
              <a:ln w="115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90" name="Freeform 343">
                <a:extLst>
                  <a:ext uri="{FF2B5EF4-FFF2-40B4-BE49-F238E27FC236}">
                    <a16:creationId xmlns:a16="http://schemas.microsoft.com/office/drawing/2014/main" id="{546AE4EC-FB97-4C50-B7ED-9F3FDC6F43A6}"/>
                  </a:ext>
                </a:extLst>
              </p:cNvPr>
              <p:cNvSpPr/>
              <p:nvPr/>
            </p:nvSpPr>
            <p:spPr>
              <a:xfrm>
                <a:off x="3423230" y="2578098"/>
                <a:ext cx="80818" cy="265739"/>
              </a:xfrm>
              <a:custGeom>
                <a:avLst/>
                <a:gdLst>
                  <a:gd name="connsiteX0" fmla="*/ 11734 w 80818"/>
                  <a:gd name="connsiteY0" fmla="*/ 268629 h 265739"/>
                  <a:gd name="connsiteX1" fmla="*/ 188 w 80818"/>
                  <a:gd name="connsiteY1" fmla="*/ 257075 h 265739"/>
                  <a:gd name="connsiteX2" fmla="*/ 11734 w 80818"/>
                  <a:gd name="connsiteY2" fmla="*/ 245521 h 265739"/>
                  <a:gd name="connsiteX3" fmla="*/ 29629 w 80818"/>
                  <a:gd name="connsiteY3" fmla="*/ 245521 h 265739"/>
                  <a:gd name="connsiteX4" fmla="*/ 29629 w 80818"/>
                  <a:gd name="connsiteY4" fmla="*/ 236393 h 265739"/>
                  <a:gd name="connsiteX5" fmla="*/ 31476 w 80818"/>
                  <a:gd name="connsiteY5" fmla="*/ 212130 h 265739"/>
                  <a:gd name="connsiteX6" fmla="*/ 48679 w 80818"/>
                  <a:gd name="connsiteY6" fmla="*/ 172732 h 265739"/>
                  <a:gd name="connsiteX7" fmla="*/ 60224 w 80818"/>
                  <a:gd name="connsiteY7" fmla="*/ 162911 h 265739"/>
                  <a:gd name="connsiteX8" fmla="*/ 65882 w 80818"/>
                  <a:gd name="connsiteY8" fmla="*/ 158405 h 265739"/>
                  <a:gd name="connsiteX9" fmla="*/ 65882 w 80818"/>
                  <a:gd name="connsiteY9" fmla="*/ 155747 h 265739"/>
                  <a:gd name="connsiteX10" fmla="*/ 65882 w 80818"/>
                  <a:gd name="connsiteY10" fmla="*/ 154476 h 265739"/>
                  <a:gd name="connsiteX11" fmla="*/ 64843 w 80818"/>
                  <a:gd name="connsiteY11" fmla="*/ 143731 h 265739"/>
                  <a:gd name="connsiteX12" fmla="*/ 63457 w 80818"/>
                  <a:gd name="connsiteY12" fmla="*/ 141074 h 265739"/>
                  <a:gd name="connsiteX13" fmla="*/ 60802 w 80818"/>
                  <a:gd name="connsiteY13" fmla="*/ 138648 h 265739"/>
                  <a:gd name="connsiteX14" fmla="*/ 56415 w 80818"/>
                  <a:gd name="connsiteY14" fmla="*/ 136337 h 265739"/>
                  <a:gd name="connsiteX15" fmla="*/ 50642 w 80818"/>
                  <a:gd name="connsiteY15" fmla="*/ 134257 h 265739"/>
                  <a:gd name="connsiteX16" fmla="*/ 43599 w 80818"/>
                  <a:gd name="connsiteY16" fmla="*/ 132755 h 265739"/>
                  <a:gd name="connsiteX17" fmla="*/ 35748 w 80818"/>
                  <a:gd name="connsiteY17" fmla="*/ 131600 h 265739"/>
                  <a:gd name="connsiteX18" fmla="*/ 27782 w 80818"/>
                  <a:gd name="connsiteY18" fmla="*/ 130675 h 265739"/>
                  <a:gd name="connsiteX19" fmla="*/ 16929 w 80818"/>
                  <a:gd name="connsiteY19" fmla="*/ 129520 h 265739"/>
                  <a:gd name="connsiteX20" fmla="*/ 10117 w 80818"/>
                  <a:gd name="connsiteY20" fmla="*/ 128711 h 265739"/>
                  <a:gd name="connsiteX21" fmla="*/ 73 w 80818"/>
                  <a:gd name="connsiteY21" fmla="*/ 118313 h 265739"/>
                  <a:gd name="connsiteX22" fmla="*/ 12542 w 80818"/>
                  <a:gd name="connsiteY22" fmla="*/ 104102 h 265739"/>
                  <a:gd name="connsiteX23" fmla="*/ 19931 w 80818"/>
                  <a:gd name="connsiteY23" fmla="*/ 101097 h 265739"/>
                  <a:gd name="connsiteX24" fmla="*/ 37364 w 80818"/>
                  <a:gd name="connsiteY24" fmla="*/ 70711 h 265739"/>
                  <a:gd name="connsiteX25" fmla="*/ 34016 w 80818"/>
                  <a:gd name="connsiteY25" fmla="*/ 32698 h 265739"/>
                  <a:gd name="connsiteX26" fmla="*/ 12195 w 80818"/>
                  <a:gd name="connsiteY26" fmla="*/ 23109 h 265739"/>
                  <a:gd name="connsiteX27" fmla="*/ 12195 w 80818"/>
                  <a:gd name="connsiteY27" fmla="*/ 23109 h 265739"/>
                  <a:gd name="connsiteX28" fmla="*/ 650 w 80818"/>
                  <a:gd name="connsiteY28" fmla="*/ 11555 h 265739"/>
                  <a:gd name="connsiteX29" fmla="*/ 12195 w 80818"/>
                  <a:gd name="connsiteY29" fmla="*/ 1 h 265739"/>
                  <a:gd name="connsiteX30" fmla="*/ 52489 w 80818"/>
                  <a:gd name="connsiteY30" fmla="*/ 18141 h 265739"/>
                  <a:gd name="connsiteX31" fmla="*/ 60340 w 80818"/>
                  <a:gd name="connsiteY31" fmla="*/ 75910 h 265739"/>
                  <a:gd name="connsiteX32" fmla="*/ 46255 w 80818"/>
                  <a:gd name="connsiteY32" fmla="*/ 109416 h 265739"/>
                  <a:gd name="connsiteX33" fmla="*/ 48102 w 80818"/>
                  <a:gd name="connsiteY33" fmla="*/ 109416 h 265739"/>
                  <a:gd name="connsiteX34" fmla="*/ 57107 w 80818"/>
                  <a:gd name="connsiteY34" fmla="*/ 111496 h 265739"/>
                  <a:gd name="connsiteX35" fmla="*/ 65997 w 80818"/>
                  <a:gd name="connsiteY35" fmla="*/ 114500 h 265739"/>
                  <a:gd name="connsiteX36" fmla="*/ 74541 w 80818"/>
                  <a:gd name="connsiteY36" fmla="*/ 119237 h 265739"/>
                  <a:gd name="connsiteX37" fmla="*/ 81930 w 80818"/>
                  <a:gd name="connsiteY37" fmla="*/ 126169 h 265739"/>
                  <a:gd name="connsiteX38" fmla="*/ 87126 w 80818"/>
                  <a:gd name="connsiteY38" fmla="*/ 135644 h 265739"/>
                  <a:gd name="connsiteX39" fmla="*/ 89434 w 80818"/>
                  <a:gd name="connsiteY39" fmla="*/ 153321 h 265739"/>
                  <a:gd name="connsiteX40" fmla="*/ 77889 w 80818"/>
                  <a:gd name="connsiteY40" fmla="*/ 154823 h 265739"/>
                  <a:gd name="connsiteX41" fmla="*/ 89434 w 80818"/>
                  <a:gd name="connsiteY41" fmla="*/ 154823 h 265739"/>
                  <a:gd name="connsiteX42" fmla="*/ 83662 w 80818"/>
                  <a:gd name="connsiteY42" fmla="*/ 173540 h 265739"/>
                  <a:gd name="connsiteX43" fmla="*/ 74656 w 80818"/>
                  <a:gd name="connsiteY43" fmla="*/ 180935 h 265739"/>
                  <a:gd name="connsiteX44" fmla="*/ 65997 w 80818"/>
                  <a:gd name="connsiteY44" fmla="*/ 188329 h 265739"/>
                  <a:gd name="connsiteX45" fmla="*/ 54452 w 80818"/>
                  <a:gd name="connsiteY45" fmla="*/ 215134 h 265739"/>
                  <a:gd name="connsiteX46" fmla="*/ 52836 w 80818"/>
                  <a:gd name="connsiteY46" fmla="*/ 236856 h 265739"/>
                  <a:gd name="connsiteX47" fmla="*/ 52258 w 80818"/>
                  <a:gd name="connsiteY47" fmla="*/ 250836 h 265739"/>
                  <a:gd name="connsiteX48" fmla="*/ 37134 w 80818"/>
                  <a:gd name="connsiteY48" fmla="*/ 268282 h 26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0818" h="265739">
                    <a:moveTo>
                      <a:pt x="11734" y="268629"/>
                    </a:moveTo>
                    <a:cubicBezTo>
                      <a:pt x="5360" y="268629"/>
                      <a:pt x="188" y="263453"/>
                      <a:pt x="188" y="257075"/>
                    </a:cubicBezTo>
                    <a:cubicBezTo>
                      <a:pt x="188" y="250697"/>
                      <a:pt x="5360" y="245521"/>
                      <a:pt x="11734" y="245521"/>
                    </a:cubicBezTo>
                    <a:lnTo>
                      <a:pt x="29629" y="245521"/>
                    </a:lnTo>
                    <a:cubicBezTo>
                      <a:pt x="29629" y="242402"/>
                      <a:pt x="29629" y="239397"/>
                      <a:pt x="29629" y="236393"/>
                    </a:cubicBezTo>
                    <a:cubicBezTo>
                      <a:pt x="29802" y="228283"/>
                      <a:pt x="30414" y="220183"/>
                      <a:pt x="31476" y="212130"/>
                    </a:cubicBezTo>
                    <a:cubicBezTo>
                      <a:pt x="32896" y="197503"/>
                      <a:pt x="38912" y="183708"/>
                      <a:pt x="48679" y="172732"/>
                    </a:cubicBezTo>
                    <a:cubicBezTo>
                      <a:pt x="52293" y="169196"/>
                      <a:pt x="56161" y="165915"/>
                      <a:pt x="60224" y="162911"/>
                    </a:cubicBezTo>
                    <a:cubicBezTo>
                      <a:pt x="62187" y="161513"/>
                      <a:pt x="64081" y="159999"/>
                      <a:pt x="65882" y="158405"/>
                    </a:cubicBezTo>
                    <a:cubicBezTo>
                      <a:pt x="65939" y="157515"/>
                      <a:pt x="65939" y="156637"/>
                      <a:pt x="65882" y="155747"/>
                    </a:cubicBezTo>
                    <a:lnTo>
                      <a:pt x="65882" y="154476"/>
                    </a:lnTo>
                    <a:cubicBezTo>
                      <a:pt x="66009" y="150860"/>
                      <a:pt x="65662" y="147255"/>
                      <a:pt x="64843" y="143731"/>
                    </a:cubicBezTo>
                    <a:cubicBezTo>
                      <a:pt x="64496" y="142784"/>
                      <a:pt x="64035" y="141894"/>
                      <a:pt x="63457" y="141074"/>
                    </a:cubicBezTo>
                    <a:cubicBezTo>
                      <a:pt x="62649" y="140184"/>
                      <a:pt x="61760" y="139364"/>
                      <a:pt x="60802" y="138648"/>
                    </a:cubicBezTo>
                    <a:cubicBezTo>
                      <a:pt x="59416" y="137735"/>
                      <a:pt x="57950" y="136961"/>
                      <a:pt x="56415" y="136337"/>
                    </a:cubicBezTo>
                    <a:cubicBezTo>
                      <a:pt x="54533" y="135528"/>
                      <a:pt x="52605" y="134835"/>
                      <a:pt x="50642" y="134257"/>
                    </a:cubicBezTo>
                    <a:lnTo>
                      <a:pt x="43599" y="132755"/>
                    </a:lnTo>
                    <a:lnTo>
                      <a:pt x="35748" y="131600"/>
                    </a:lnTo>
                    <a:lnTo>
                      <a:pt x="27782" y="130675"/>
                    </a:lnTo>
                    <a:lnTo>
                      <a:pt x="16929" y="129520"/>
                    </a:lnTo>
                    <a:cubicBezTo>
                      <a:pt x="14505" y="129520"/>
                      <a:pt x="11849" y="129520"/>
                      <a:pt x="10117" y="128711"/>
                    </a:cubicBezTo>
                    <a:cubicBezTo>
                      <a:pt x="4841" y="127845"/>
                      <a:pt x="765" y="123616"/>
                      <a:pt x="73" y="118313"/>
                    </a:cubicBezTo>
                    <a:cubicBezTo>
                      <a:pt x="-851" y="109185"/>
                      <a:pt x="7231" y="106066"/>
                      <a:pt x="12542" y="104102"/>
                    </a:cubicBezTo>
                    <a:lnTo>
                      <a:pt x="19931" y="101097"/>
                    </a:lnTo>
                    <a:cubicBezTo>
                      <a:pt x="29398" y="97169"/>
                      <a:pt x="33439" y="87348"/>
                      <a:pt x="37364" y="70711"/>
                    </a:cubicBezTo>
                    <a:cubicBezTo>
                      <a:pt x="41290" y="54073"/>
                      <a:pt x="40482" y="40671"/>
                      <a:pt x="34016" y="32698"/>
                    </a:cubicBezTo>
                    <a:cubicBezTo>
                      <a:pt x="28324" y="26702"/>
                      <a:pt x="20462" y="23247"/>
                      <a:pt x="12195" y="23109"/>
                    </a:cubicBezTo>
                    <a:lnTo>
                      <a:pt x="12195" y="23109"/>
                    </a:lnTo>
                    <a:cubicBezTo>
                      <a:pt x="5822" y="23109"/>
                      <a:pt x="650" y="17933"/>
                      <a:pt x="650" y="11555"/>
                    </a:cubicBezTo>
                    <a:cubicBezTo>
                      <a:pt x="650" y="5177"/>
                      <a:pt x="5822" y="1"/>
                      <a:pt x="12195" y="1"/>
                    </a:cubicBezTo>
                    <a:cubicBezTo>
                      <a:pt x="27620" y="-91"/>
                      <a:pt x="42329" y="6529"/>
                      <a:pt x="52489" y="18141"/>
                    </a:cubicBezTo>
                    <a:cubicBezTo>
                      <a:pt x="64035" y="32005"/>
                      <a:pt x="66228" y="51531"/>
                      <a:pt x="60340" y="75910"/>
                    </a:cubicBezTo>
                    <a:cubicBezTo>
                      <a:pt x="58135" y="87972"/>
                      <a:pt x="53332" y="99399"/>
                      <a:pt x="46255" y="109416"/>
                    </a:cubicBezTo>
                    <a:lnTo>
                      <a:pt x="48102" y="109416"/>
                    </a:lnTo>
                    <a:cubicBezTo>
                      <a:pt x="51138" y="109936"/>
                      <a:pt x="54152" y="110630"/>
                      <a:pt x="57107" y="111496"/>
                    </a:cubicBezTo>
                    <a:cubicBezTo>
                      <a:pt x="60144" y="112259"/>
                      <a:pt x="63122" y="113264"/>
                      <a:pt x="65997" y="114500"/>
                    </a:cubicBezTo>
                    <a:cubicBezTo>
                      <a:pt x="69011" y="115748"/>
                      <a:pt x="71885" y="117342"/>
                      <a:pt x="74541" y="119237"/>
                    </a:cubicBezTo>
                    <a:cubicBezTo>
                      <a:pt x="77346" y="121143"/>
                      <a:pt x="79840" y="123489"/>
                      <a:pt x="81930" y="126169"/>
                    </a:cubicBezTo>
                    <a:cubicBezTo>
                      <a:pt x="84216" y="128989"/>
                      <a:pt x="85971" y="132200"/>
                      <a:pt x="87126" y="135644"/>
                    </a:cubicBezTo>
                    <a:cubicBezTo>
                      <a:pt x="88800" y="141386"/>
                      <a:pt x="89585" y="147348"/>
                      <a:pt x="89434" y="153321"/>
                    </a:cubicBezTo>
                    <a:lnTo>
                      <a:pt x="77889" y="154823"/>
                    </a:lnTo>
                    <a:lnTo>
                      <a:pt x="89434" y="154823"/>
                    </a:lnTo>
                    <a:cubicBezTo>
                      <a:pt x="90381" y="161605"/>
                      <a:pt x="88269" y="168468"/>
                      <a:pt x="83662" y="173540"/>
                    </a:cubicBezTo>
                    <a:cubicBezTo>
                      <a:pt x="80821" y="176198"/>
                      <a:pt x="77808" y="178659"/>
                      <a:pt x="74656" y="180935"/>
                    </a:cubicBezTo>
                    <a:cubicBezTo>
                      <a:pt x="71608" y="183199"/>
                      <a:pt x="68711" y="185672"/>
                      <a:pt x="65997" y="188329"/>
                    </a:cubicBezTo>
                    <a:cubicBezTo>
                      <a:pt x="59451" y="195839"/>
                      <a:pt x="55410" y="205209"/>
                      <a:pt x="54452" y="215134"/>
                    </a:cubicBezTo>
                    <a:cubicBezTo>
                      <a:pt x="53413" y="222182"/>
                      <a:pt x="53182" y="229346"/>
                      <a:pt x="52836" y="236856"/>
                    </a:cubicBezTo>
                    <a:cubicBezTo>
                      <a:pt x="52836" y="241477"/>
                      <a:pt x="52836" y="246214"/>
                      <a:pt x="52258" y="250836"/>
                    </a:cubicBezTo>
                    <a:cubicBezTo>
                      <a:pt x="52732" y="259779"/>
                      <a:pt x="46047" y="267485"/>
                      <a:pt x="37134" y="268282"/>
                    </a:cubicBezTo>
                    <a:close/>
                  </a:path>
                </a:pathLst>
              </a:custGeom>
              <a:grpFill/>
              <a:ln w="115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grpSp>
        <p:sp>
          <p:nvSpPr>
            <p:cNvPr id="14" name="Rectangle 13">
              <a:extLst>
                <a:ext uri="{FF2B5EF4-FFF2-40B4-BE49-F238E27FC236}">
                  <a16:creationId xmlns:a16="http://schemas.microsoft.com/office/drawing/2014/main" id="{07989711-D185-4D95-BD51-F883CA94BFEC}"/>
                </a:ext>
              </a:extLst>
            </p:cNvPr>
            <p:cNvSpPr/>
            <p:nvPr/>
          </p:nvSpPr>
          <p:spPr>
            <a:xfrm>
              <a:off x="1269980" y="2304639"/>
              <a:ext cx="250697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Verdana" panose="020B0604030504040204" pitchFamily="34" charset="0"/>
                </a:rPr>
                <a:t>Unified Data Foundation</a:t>
              </a:r>
            </a:p>
          </p:txBody>
        </p:sp>
        <p:sp>
          <p:nvSpPr>
            <p:cNvPr id="15" name="Rectangle 14">
              <a:extLst>
                <a:ext uri="{FF2B5EF4-FFF2-40B4-BE49-F238E27FC236}">
                  <a16:creationId xmlns:a16="http://schemas.microsoft.com/office/drawing/2014/main" id="{B9FB02C0-4C1F-4860-9094-0A6261E81678}"/>
                </a:ext>
              </a:extLst>
            </p:cNvPr>
            <p:cNvSpPr/>
            <p:nvPr/>
          </p:nvSpPr>
          <p:spPr>
            <a:xfrm>
              <a:off x="1269979" y="2518856"/>
              <a:ext cx="230224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Verdana" panose="020B0604030504040204" pitchFamily="34" charset="0"/>
                </a:rPr>
                <a:t>Simplified single point for the entire experience ecosystem</a:t>
              </a:r>
            </a:p>
          </p:txBody>
        </p:sp>
        <p:sp>
          <p:nvSpPr>
            <p:cNvPr id="16" name="Rectangle 15">
              <a:extLst>
                <a:ext uri="{FF2B5EF4-FFF2-40B4-BE49-F238E27FC236}">
                  <a16:creationId xmlns:a16="http://schemas.microsoft.com/office/drawing/2014/main" id="{092F39C5-974B-4685-AED9-1A3E52830E13}"/>
                </a:ext>
              </a:extLst>
            </p:cNvPr>
            <p:cNvSpPr/>
            <p:nvPr/>
          </p:nvSpPr>
          <p:spPr>
            <a:xfrm>
              <a:off x="1269980" y="3611329"/>
              <a:ext cx="251311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Verdana" panose="020B0604030504040204" pitchFamily="34" charset="0"/>
                </a:rPr>
                <a:t>Unified View Of Customer</a:t>
              </a:r>
            </a:p>
          </p:txBody>
        </p:sp>
        <p:sp>
          <p:nvSpPr>
            <p:cNvPr id="17" name="Rectangle 16">
              <a:extLst>
                <a:ext uri="{FF2B5EF4-FFF2-40B4-BE49-F238E27FC236}">
                  <a16:creationId xmlns:a16="http://schemas.microsoft.com/office/drawing/2014/main" id="{88939858-7214-4E18-9352-74ADC438EE7B}"/>
                </a:ext>
              </a:extLst>
            </p:cNvPr>
            <p:cNvSpPr/>
            <p:nvPr/>
          </p:nvSpPr>
          <p:spPr>
            <a:xfrm>
              <a:off x="1269980" y="3825212"/>
              <a:ext cx="2248862"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Unified profile customer data across channels</a:t>
              </a:r>
            </a:p>
          </p:txBody>
        </p:sp>
        <p:sp>
          <p:nvSpPr>
            <p:cNvPr id="18" name="Rectangle 17">
              <a:extLst>
                <a:ext uri="{FF2B5EF4-FFF2-40B4-BE49-F238E27FC236}">
                  <a16:creationId xmlns:a16="http://schemas.microsoft.com/office/drawing/2014/main" id="{5DAE6FE1-96EC-401C-B102-C2665300F0AA}"/>
                </a:ext>
              </a:extLst>
            </p:cNvPr>
            <p:cNvSpPr/>
            <p:nvPr/>
          </p:nvSpPr>
          <p:spPr>
            <a:xfrm>
              <a:off x="1269980" y="4837757"/>
              <a:ext cx="242989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ea typeface="+mn-ea"/>
                  <a:cs typeface="+mn-cs"/>
                </a:rPr>
                <a:t>Segmentation</a:t>
              </a:r>
            </a:p>
          </p:txBody>
        </p:sp>
        <p:sp>
          <p:nvSpPr>
            <p:cNvPr id="19" name="Rectangle 18">
              <a:extLst>
                <a:ext uri="{FF2B5EF4-FFF2-40B4-BE49-F238E27FC236}">
                  <a16:creationId xmlns:a16="http://schemas.microsoft.com/office/drawing/2014/main" id="{01E8AF76-EA60-469A-8BA7-9BA6A9613732}"/>
                </a:ext>
              </a:extLst>
            </p:cNvPr>
            <p:cNvSpPr/>
            <p:nvPr/>
          </p:nvSpPr>
          <p:spPr>
            <a:xfrm>
              <a:off x="1241202" y="5053836"/>
              <a:ext cx="2237425"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ea typeface="Verdana" panose="020B0604030504040204" pitchFamily="34" charset="0"/>
                </a:rPr>
                <a:t>Dynamic segments that solve scalability problems marketers traditionally face when building segments off both real time and batch data.</a:t>
              </a:r>
            </a:p>
          </p:txBody>
        </p:sp>
        <p:sp>
          <p:nvSpPr>
            <p:cNvPr id="20" name="Rectangle 19">
              <a:extLst>
                <a:ext uri="{FF2B5EF4-FFF2-40B4-BE49-F238E27FC236}">
                  <a16:creationId xmlns:a16="http://schemas.microsoft.com/office/drawing/2014/main" id="{783EC630-FBF8-4051-8178-76E4D88C5926}"/>
                </a:ext>
              </a:extLst>
            </p:cNvPr>
            <p:cNvSpPr/>
            <p:nvPr/>
          </p:nvSpPr>
          <p:spPr>
            <a:xfrm>
              <a:off x="4762151" y="2304639"/>
              <a:ext cx="2773776"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Machine Learning &amp; AI</a:t>
              </a:r>
            </a:p>
          </p:txBody>
        </p:sp>
        <p:sp>
          <p:nvSpPr>
            <p:cNvPr id="21" name="Rectangle 20">
              <a:extLst>
                <a:ext uri="{FF2B5EF4-FFF2-40B4-BE49-F238E27FC236}">
                  <a16:creationId xmlns:a16="http://schemas.microsoft.com/office/drawing/2014/main" id="{DE1DE57C-8D25-40CF-82CB-8BEC33A3C056}"/>
                </a:ext>
              </a:extLst>
            </p:cNvPr>
            <p:cNvSpPr/>
            <p:nvPr/>
          </p:nvSpPr>
          <p:spPr>
            <a:xfrm>
              <a:off x="4762150" y="2508559"/>
              <a:ext cx="2714985"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Advanced predictive capabilities empowering data-driven decisioning</a:t>
              </a:r>
            </a:p>
          </p:txBody>
        </p:sp>
        <p:sp>
          <p:nvSpPr>
            <p:cNvPr id="22" name="Rectangle 21">
              <a:extLst>
                <a:ext uri="{FF2B5EF4-FFF2-40B4-BE49-F238E27FC236}">
                  <a16:creationId xmlns:a16="http://schemas.microsoft.com/office/drawing/2014/main" id="{87A4CF70-DF2C-4C35-9301-787C37153838}"/>
                </a:ext>
              </a:extLst>
            </p:cNvPr>
            <p:cNvSpPr/>
            <p:nvPr/>
          </p:nvSpPr>
          <p:spPr>
            <a:xfrm>
              <a:off x="4762151" y="3577773"/>
              <a:ext cx="322770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Customer Journey </a:t>
              </a:r>
              <a:r>
                <a:rPr lang="en-US" sz="1200" b="1" dirty="0">
                  <a:solidFill>
                    <a:srgbClr val="000000"/>
                  </a:solidFill>
                </a:rPr>
                <a:t>I</a:t>
              </a:r>
              <a:r>
                <a:rPr kumimoji="0" lang="en-US" sz="1200" b="1" i="0" u="none" strike="noStrike" kern="1200" cap="none" spc="0" normalizeH="0" baseline="0" noProof="0" dirty="0" err="1">
                  <a:ln>
                    <a:noFill/>
                  </a:ln>
                  <a:solidFill>
                    <a:srgbClr val="000000"/>
                  </a:solidFill>
                  <a:effectLst/>
                  <a:uLnTx/>
                  <a:uFillTx/>
                  <a:ea typeface="+mn-ea"/>
                  <a:cs typeface="+mn-cs"/>
                </a:rPr>
                <a:t>nsights</a:t>
              </a:r>
              <a:r>
                <a:rPr kumimoji="0" lang="en-US" sz="1200" b="1" i="0" u="none" strike="noStrike" kern="1200" cap="none" spc="0" normalizeH="0" baseline="0" noProof="0" dirty="0">
                  <a:ln>
                    <a:noFill/>
                  </a:ln>
                  <a:solidFill>
                    <a:srgbClr val="000000"/>
                  </a:solidFill>
                  <a:effectLst/>
                  <a:uLnTx/>
                  <a:uFillTx/>
                  <a:ea typeface="+mn-ea"/>
                  <a:cs typeface="+mn-cs"/>
                </a:rPr>
                <a:t> </a:t>
              </a:r>
            </a:p>
          </p:txBody>
        </p:sp>
        <p:sp>
          <p:nvSpPr>
            <p:cNvPr id="23" name="Rectangle 22">
              <a:extLst>
                <a:ext uri="{FF2B5EF4-FFF2-40B4-BE49-F238E27FC236}">
                  <a16:creationId xmlns:a16="http://schemas.microsoft.com/office/drawing/2014/main" id="{01C3E8AA-1592-4011-A0A7-FBDDB61A99DA}"/>
                </a:ext>
              </a:extLst>
            </p:cNvPr>
            <p:cNvSpPr/>
            <p:nvPr/>
          </p:nvSpPr>
          <p:spPr>
            <a:xfrm>
              <a:off x="4762151" y="3791656"/>
              <a:ext cx="290466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Speed to insights using customer journey analytics to identify opportunities</a:t>
              </a:r>
            </a:p>
          </p:txBody>
        </p:sp>
        <p:grpSp>
          <p:nvGrpSpPr>
            <p:cNvPr id="24" name="Group 23">
              <a:extLst>
                <a:ext uri="{FF2B5EF4-FFF2-40B4-BE49-F238E27FC236}">
                  <a16:creationId xmlns:a16="http://schemas.microsoft.com/office/drawing/2014/main" id="{57310EE7-99AB-4693-89CC-FDF3A510480E}"/>
                </a:ext>
              </a:extLst>
            </p:cNvPr>
            <p:cNvGrpSpPr/>
            <p:nvPr/>
          </p:nvGrpSpPr>
          <p:grpSpPr>
            <a:xfrm>
              <a:off x="4226754" y="3586382"/>
              <a:ext cx="552808" cy="553212"/>
              <a:chOff x="4021157" y="3850252"/>
              <a:chExt cx="552808" cy="553212"/>
            </a:xfrm>
            <a:solidFill>
              <a:schemeClr val="accent2"/>
            </a:solidFill>
          </p:grpSpPr>
          <p:sp>
            <p:nvSpPr>
              <p:cNvPr id="74" name="Freeform 43">
                <a:extLst>
                  <a:ext uri="{FF2B5EF4-FFF2-40B4-BE49-F238E27FC236}">
                    <a16:creationId xmlns:a16="http://schemas.microsoft.com/office/drawing/2014/main" id="{ACFE9024-E2C8-4B33-AC26-6264631CABB7}"/>
                  </a:ext>
                </a:extLst>
              </p:cNvPr>
              <p:cNvSpPr/>
              <p:nvPr/>
            </p:nvSpPr>
            <p:spPr>
              <a:xfrm>
                <a:off x="4021157" y="3850252"/>
                <a:ext cx="552808" cy="553212"/>
              </a:xfrm>
              <a:custGeom>
                <a:avLst/>
                <a:gdLst>
                  <a:gd name="connsiteX0" fmla="*/ 276404 w 552808"/>
                  <a:gd name="connsiteY0" fmla="*/ 553212 h 553212"/>
                  <a:gd name="connsiteX1" fmla="*/ 0 w 552808"/>
                  <a:gd name="connsiteY1" fmla="*/ 276606 h 553212"/>
                  <a:gd name="connsiteX2" fmla="*/ 276404 w 552808"/>
                  <a:gd name="connsiteY2" fmla="*/ 0 h 553212"/>
                  <a:gd name="connsiteX3" fmla="*/ 552809 w 552808"/>
                  <a:gd name="connsiteY3" fmla="*/ 276606 h 553212"/>
                  <a:gd name="connsiteX4" fmla="*/ 276404 w 552808"/>
                  <a:gd name="connsiteY4" fmla="*/ 553212 h 553212"/>
                  <a:gd name="connsiteX5" fmla="*/ 276404 w 552808"/>
                  <a:gd name="connsiteY5" fmla="*/ 23051 h 553212"/>
                  <a:gd name="connsiteX6" fmla="*/ 23034 w 552808"/>
                  <a:gd name="connsiteY6" fmla="*/ 276606 h 553212"/>
                  <a:gd name="connsiteX7" fmla="*/ 276404 w 552808"/>
                  <a:gd name="connsiteY7" fmla="*/ 530162 h 553212"/>
                  <a:gd name="connsiteX8" fmla="*/ 529775 w 552808"/>
                  <a:gd name="connsiteY8" fmla="*/ 276606 h 553212"/>
                  <a:gd name="connsiteX9" fmla="*/ 276404 w 552808"/>
                  <a:gd name="connsiteY9" fmla="*/ 23051 h 553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808" h="553212">
                    <a:moveTo>
                      <a:pt x="276404" y="553212"/>
                    </a:moveTo>
                    <a:cubicBezTo>
                      <a:pt x="123748" y="553212"/>
                      <a:pt x="0" y="429371"/>
                      <a:pt x="0" y="276606"/>
                    </a:cubicBezTo>
                    <a:cubicBezTo>
                      <a:pt x="0" y="123841"/>
                      <a:pt x="123748" y="0"/>
                      <a:pt x="276404" y="0"/>
                    </a:cubicBezTo>
                    <a:cubicBezTo>
                      <a:pt x="429060" y="0"/>
                      <a:pt x="552809" y="123841"/>
                      <a:pt x="552809" y="276606"/>
                    </a:cubicBezTo>
                    <a:cubicBezTo>
                      <a:pt x="552809" y="429371"/>
                      <a:pt x="429060" y="553212"/>
                      <a:pt x="276404" y="553212"/>
                    </a:cubicBezTo>
                    <a:close/>
                    <a:moveTo>
                      <a:pt x="276404" y="23051"/>
                    </a:moveTo>
                    <a:cubicBezTo>
                      <a:pt x="136474" y="23051"/>
                      <a:pt x="23034" y="136571"/>
                      <a:pt x="23034" y="276606"/>
                    </a:cubicBezTo>
                    <a:cubicBezTo>
                      <a:pt x="23034" y="416641"/>
                      <a:pt x="136474" y="530162"/>
                      <a:pt x="276404" y="530162"/>
                    </a:cubicBezTo>
                    <a:cubicBezTo>
                      <a:pt x="416333" y="530162"/>
                      <a:pt x="529775" y="416641"/>
                      <a:pt x="529775" y="276606"/>
                    </a:cubicBezTo>
                    <a:cubicBezTo>
                      <a:pt x="529775" y="136571"/>
                      <a:pt x="416333" y="23051"/>
                      <a:pt x="276404" y="23051"/>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75" name="Freeform 48">
                <a:extLst>
                  <a:ext uri="{FF2B5EF4-FFF2-40B4-BE49-F238E27FC236}">
                    <a16:creationId xmlns:a16="http://schemas.microsoft.com/office/drawing/2014/main" id="{F328E3A7-9091-449B-AA97-0C503B6F6A6B}"/>
                  </a:ext>
                </a:extLst>
              </p:cNvPr>
              <p:cNvSpPr/>
              <p:nvPr/>
            </p:nvSpPr>
            <p:spPr>
              <a:xfrm>
                <a:off x="4137477" y="4029985"/>
                <a:ext cx="115168" cy="242030"/>
              </a:xfrm>
              <a:custGeom>
                <a:avLst/>
                <a:gdLst>
                  <a:gd name="connsiteX0" fmla="*/ 11517 w 115168"/>
                  <a:gd name="connsiteY0" fmla="*/ 248891 h 242030"/>
                  <a:gd name="connsiteX1" fmla="*/ 0 w 115168"/>
                  <a:gd name="connsiteY1" fmla="*/ 237366 h 242030"/>
                  <a:gd name="connsiteX2" fmla="*/ 0 w 115168"/>
                  <a:gd name="connsiteY2" fmla="*/ 42359 h 242030"/>
                  <a:gd name="connsiteX3" fmla="*/ 7486 w 115168"/>
                  <a:gd name="connsiteY3" fmla="*/ 31525 h 242030"/>
                  <a:gd name="connsiteX4" fmla="*/ 90292 w 115168"/>
                  <a:gd name="connsiteY4" fmla="*/ 983 h 242030"/>
                  <a:gd name="connsiteX5" fmla="*/ 105483 w 115168"/>
                  <a:gd name="connsiteY5" fmla="*/ 6876 h 242030"/>
                  <a:gd name="connsiteX6" fmla="*/ 99587 w 115168"/>
                  <a:gd name="connsiteY6" fmla="*/ 22073 h 242030"/>
                  <a:gd name="connsiteX7" fmla="*/ 98354 w 115168"/>
                  <a:gd name="connsiteY7" fmla="*/ 22536 h 242030"/>
                  <a:gd name="connsiteX8" fmla="*/ 23034 w 115168"/>
                  <a:gd name="connsiteY8" fmla="*/ 50772 h 242030"/>
                  <a:gd name="connsiteX9" fmla="*/ 23034 w 115168"/>
                  <a:gd name="connsiteY9" fmla="*/ 220885 h 242030"/>
                  <a:gd name="connsiteX10" fmla="*/ 100312 w 115168"/>
                  <a:gd name="connsiteY10" fmla="*/ 192302 h 242030"/>
                  <a:gd name="connsiteX11" fmla="*/ 106416 w 115168"/>
                  <a:gd name="connsiteY11" fmla="*/ 190458 h 242030"/>
                  <a:gd name="connsiteX12" fmla="*/ 117932 w 115168"/>
                  <a:gd name="connsiteY12" fmla="*/ 201984 h 242030"/>
                  <a:gd name="connsiteX13" fmla="*/ 117932 w 115168"/>
                  <a:gd name="connsiteY13" fmla="*/ 202675 h 242030"/>
                  <a:gd name="connsiteX14" fmla="*/ 110332 w 115168"/>
                  <a:gd name="connsiteY14" fmla="*/ 213509 h 242030"/>
                  <a:gd name="connsiteX15" fmla="*/ 15548 w 115168"/>
                  <a:gd name="connsiteY15" fmla="*/ 248085 h 242030"/>
                  <a:gd name="connsiteX16" fmla="*/ 11517 w 115168"/>
                  <a:gd name="connsiteY16" fmla="*/ 248891 h 242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5168" h="242030">
                    <a:moveTo>
                      <a:pt x="11517" y="248891"/>
                    </a:moveTo>
                    <a:cubicBezTo>
                      <a:pt x="5160" y="248891"/>
                      <a:pt x="0" y="243732"/>
                      <a:pt x="0" y="237366"/>
                    </a:cubicBezTo>
                    <a:lnTo>
                      <a:pt x="0" y="42359"/>
                    </a:lnTo>
                    <a:cubicBezTo>
                      <a:pt x="-11" y="37536"/>
                      <a:pt x="2971" y="33214"/>
                      <a:pt x="7486" y="31525"/>
                    </a:cubicBezTo>
                    <a:lnTo>
                      <a:pt x="90292" y="983"/>
                    </a:lnTo>
                    <a:cubicBezTo>
                      <a:pt x="96108" y="-1586"/>
                      <a:pt x="102915" y="1052"/>
                      <a:pt x="105483" y="6876"/>
                    </a:cubicBezTo>
                    <a:cubicBezTo>
                      <a:pt x="108039" y="12700"/>
                      <a:pt x="105414" y="19504"/>
                      <a:pt x="99587" y="22073"/>
                    </a:cubicBezTo>
                    <a:cubicBezTo>
                      <a:pt x="99183" y="22251"/>
                      <a:pt x="98768" y="22405"/>
                      <a:pt x="98354" y="22536"/>
                    </a:cubicBezTo>
                    <a:lnTo>
                      <a:pt x="23034" y="50772"/>
                    </a:lnTo>
                    <a:lnTo>
                      <a:pt x="23034" y="220885"/>
                    </a:lnTo>
                    <a:lnTo>
                      <a:pt x="100312" y="192302"/>
                    </a:lnTo>
                    <a:cubicBezTo>
                      <a:pt x="102131" y="191125"/>
                      <a:pt x="104251" y="190486"/>
                      <a:pt x="106416" y="190458"/>
                    </a:cubicBezTo>
                    <a:cubicBezTo>
                      <a:pt x="112773" y="190458"/>
                      <a:pt x="117932" y="195618"/>
                      <a:pt x="117932" y="201984"/>
                    </a:cubicBezTo>
                    <a:lnTo>
                      <a:pt x="117932" y="202675"/>
                    </a:lnTo>
                    <a:cubicBezTo>
                      <a:pt x="117932" y="207527"/>
                      <a:pt x="114892" y="211859"/>
                      <a:pt x="110332" y="213509"/>
                    </a:cubicBezTo>
                    <a:lnTo>
                      <a:pt x="15548" y="248085"/>
                    </a:lnTo>
                    <a:cubicBezTo>
                      <a:pt x="14270" y="248593"/>
                      <a:pt x="12899" y="248866"/>
                      <a:pt x="11517" y="248891"/>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76" name="Freeform 49">
                <a:extLst>
                  <a:ext uri="{FF2B5EF4-FFF2-40B4-BE49-F238E27FC236}">
                    <a16:creationId xmlns:a16="http://schemas.microsoft.com/office/drawing/2014/main" id="{0AA19A9C-0EC1-4B27-9028-9588A2BC2788}"/>
                  </a:ext>
                </a:extLst>
              </p:cNvPr>
              <p:cNvSpPr/>
              <p:nvPr/>
            </p:nvSpPr>
            <p:spPr>
              <a:xfrm>
                <a:off x="4232376" y="4057707"/>
                <a:ext cx="23034" cy="184404"/>
              </a:xfrm>
              <a:custGeom>
                <a:avLst/>
                <a:gdLst>
                  <a:gd name="connsiteX0" fmla="*/ 11517 w 23033"/>
                  <a:gd name="connsiteY0" fmla="*/ 186133 h 184404"/>
                  <a:gd name="connsiteX1" fmla="*/ 0 w 23033"/>
                  <a:gd name="connsiteY1" fmla="*/ 174608 h 184404"/>
                  <a:gd name="connsiteX2" fmla="*/ 0 w 23033"/>
                  <a:gd name="connsiteY2" fmla="*/ 11525 h 184404"/>
                  <a:gd name="connsiteX3" fmla="*/ 11517 w 23033"/>
                  <a:gd name="connsiteY3" fmla="*/ 0 h 184404"/>
                  <a:gd name="connsiteX4" fmla="*/ 23034 w 23033"/>
                  <a:gd name="connsiteY4" fmla="*/ 11525 h 184404"/>
                  <a:gd name="connsiteX5" fmla="*/ 23034 w 23033"/>
                  <a:gd name="connsiteY5" fmla="*/ 174608 h 184404"/>
                  <a:gd name="connsiteX6" fmla="*/ 11517 w 23033"/>
                  <a:gd name="connsiteY6" fmla="*/ 186133 h 18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3" h="184404">
                    <a:moveTo>
                      <a:pt x="11517" y="186133"/>
                    </a:moveTo>
                    <a:cubicBezTo>
                      <a:pt x="5160" y="186133"/>
                      <a:pt x="0" y="180973"/>
                      <a:pt x="0" y="174608"/>
                    </a:cubicBezTo>
                    <a:lnTo>
                      <a:pt x="0" y="11525"/>
                    </a:lnTo>
                    <a:cubicBezTo>
                      <a:pt x="0" y="5160"/>
                      <a:pt x="5160" y="0"/>
                      <a:pt x="11517" y="0"/>
                    </a:cubicBezTo>
                    <a:cubicBezTo>
                      <a:pt x="17874" y="0"/>
                      <a:pt x="23034" y="5160"/>
                      <a:pt x="23034" y="11525"/>
                    </a:cubicBezTo>
                    <a:lnTo>
                      <a:pt x="23034" y="174608"/>
                    </a:lnTo>
                    <a:cubicBezTo>
                      <a:pt x="23034" y="180973"/>
                      <a:pt x="17874" y="186133"/>
                      <a:pt x="11517" y="186133"/>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77" name="Freeform 50">
                <a:extLst>
                  <a:ext uri="{FF2B5EF4-FFF2-40B4-BE49-F238E27FC236}">
                    <a16:creationId xmlns:a16="http://schemas.microsoft.com/office/drawing/2014/main" id="{32F4B009-CA95-4B9B-88A8-1ECC212ADEA1}"/>
                  </a:ext>
                </a:extLst>
              </p:cNvPr>
              <p:cNvSpPr/>
              <p:nvPr/>
            </p:nvSpPr>
            <p:spPr>
              <a:xfrm>
                <a:off x="4232330" y="4221239"/>
                <a:ext cx="115168" cy="57626"/>
              </a:xfrm>
              <a:custGeom>
                <a:avLst/>
                <a:gdLst>
                  <a:gd name="connsiteX0" fmla="*/ 106461 w 115168"/>
                  <a:gd name="connsiteY0" fmla="*/ 57637 h 57626"/>
                  <a:gd name="connsiteX1" fmla="*/ 102431 w 115168"/>
                  <a:gd name="connsiteY1" fmla="*/ 56945 h 57626"/>
                  <a:gd name="connsiteX2" fmla="*/ 7532 w 115168"/>
                  <a:gd name="connsiteY2" fmla="*/ 22370 h 57626"/>
                  <a:gd name="connsiteX3" fmla="*/ 714 w 115168"/>
                  <a:gd name="connsiteY3" fmla="*/ 7568 h 57626"/>
                  <a:gd name="connsiteX4" fmla="*/ 737 w 115168"/>
                  <a:gd name="connsiteY4" fmla="*/ 7502 h 57626"/>
                  <a:gd name="connsiteX5" fmla="*/ 15479 w 115168"/>
                  <a:gd name="connsiteY5" fmla="*/ 702 h 57626"/>
                  <a:gd name="connsiteX6" fmla="*/ 110493 w 115168"/>
                  <a:gd name="connsiteY6" fmla="*/ 35278 h 57626"/>
                  <a:gd name="connsiteX7" fmla="*/ 117310 w 115168"/>
                  <a:gd name="connsiteY7" fmla="*/ 50080 h 57626"/>
                  <a:gd name="connsiteX8" fmla="*/ 117287 w 115168"/>
                  <a:gd name="connsiteY8" fmla="*/ 50145 h 57626"/>
                  <a:gd name="connsiteX9" fmla="*/ 106461 w 115168"/>
                  <a:gd name="connsiteY9" fmla="*/ 57637 h 5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168" h="57626">
                    <a:moveTo>
                      <a:pt x="106461" y="57637"/>
                    </a:moveTo>
                    <a:cubicBezTo>
                      <a:pt x="105091" y="57632"/>
                      <a:pt x="103721" y="57399"/>
                      <a:pt x="102431" y="56945"/>
                    </a:cubicBezTo>
                    <a:lnTo>
                      <a:pt x="7532" y="22370"/>
                    </a:lnTo>
                    <a:cubicBezTo>
                      <a:pt x="1566" y="20167"/>
                      <a:pt x="-1486" y="13540"/>
                      <a:pt x="714" y="7568"/>
                    </a:cubicBezTo>
                    <a:cubicBezTo>
                      <a:pt x="726" y="7546"/>
                      <a:pt x="726" y="7524"/>
                      <a:pt x="737" y="7502"/>
                    </a:cubicBezTo>
                    <a:cubicBezTo>
                      <a:pt x="2948" y="1566"/>
                      <a:pt x="9536" y="-1470"/>
                      <a:pt x="15479" y="702"/>
                    </a:cubicBezTo>
                    <a:lnTo>
                      <a:pt x="110493" y="35278"/>
                    </a:lnTo>
                    <a:cubicBezTo>
                      <a:pt x="116459" y="37480"/>
                      <a:pt x="119511" y="44107"/>
                      <a:pt x="117310" y="50080"/>
                    </a:cubicBezTo>
                    <a:cubicBezTo>
                      <a:pt x="117299" y="50102"/>
                      <a:pt x="117299" y="50124"/>
                      <a:pt x="117287" y="50145"/>
                    </a:cubicBezTo>
                    <a:cubicBezTo>
                      <a:pt x="115595" y="54663"/>
                      <a:pt x="111276" y="57653"/>
                      <a:pt x="106461" y="57637"/>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78" name="Freeform 51">
                <a:extLst>
                  <a:ext uri="{FF2B5EF4-FFF2-40B4-BE49-F238E27FC236}">
                    <a16:creationId xmlns:a16="http://schemas.microsoft.com/office/drawing/2014/main" id="{1E98BE45-4888-4B64-9900-140F36D4F1E9}"/>
                  </a:ext>
                </a:extLst>
              </p:cNvPr>
              <p:cNvSpPr/>
              <p:nvPr/>
            </p:nvSpPr>
            <p:spPr>
              <a:xfrm>
                <a:off x="4232607" y="4220904"/>
                <a:ext cx="23034" cy="23051"/>
              </a:xfrm>
              <a:custGeom>
                <a:avLst/>
                <a:gdLst>
                  <a:gd name="connsiteX0" fmla="*/ 11402 w 23033"/>
                  <a:gd name="connsiteY0" fmla="*/ 23051 h 23050"/>
                  <a:gd name="connsiteX1" fmla="*/ 6334 w 23033"/>
                  <a:gd name="connsiteY1" fmla="*/ 21783 h 23050"/>
                  <a:gd name="connsiteX2" fmla="*/ 6334 w 23033"/>
                  <a:gd name="connsiteY2" fmla="*/ 21783 h 23050"/>
                  <a:gd name="connsiteX3" fmla="*/ 0 w 23033"/>
                  <a:gd name="connsiteY3" fmla="*/ 11525 h 23050"/>
                  <a:gd name="connsiteX4" fmla="*/ 11517 w 23033"/>
                  <a:gd name="connsiteY4" fmla="*/ 0 h 23050"/>
                  <a:gd name="connsiteX5" fmla="*/ 23034 w 23033"/>
                  <a:gd name="connsiteY5" fmla="*/ 10488 h 23050"/>
                  <a:gd name="connsiteX6" fmla="*/ 21882 w 23033"/>
                  <a:gd name="connsiteY6" fmla="*/ 17057 h 23050"/>
                  <a:gd name="connsiteX7" fmla="*/ 11402 w 23033"/>
                  <a:gd name="connsiteY7" fmla="*/ 23051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33" h="23050">
                    <a:moveTo>
                      <a:pt x="11402" y="23051"/>
                    </a:moveTo>
                    <a:cubicBezTo>
                      <a:pt x="9639" y="23022"/>
                      <a:pt x="7900" y="22588"/>
                      <a:pt x="6334" y="21783"/>
                    </a:cubicBezTo>
                    <a:lnTo>
                      <a:pt x="6334" y="21783"/>
                    </a:lnTo>
                    <a:cubicBezTo>
                      <a:pt x="2464" y="19830"/>
                      <a:pt x="11" y="15866"/>
                      <a:pt x="0" y="11525"/>
                    </a:cubicBezTo>
                    <a:cubicBezTo>
                      <a:pt x="0" y="5160"/>
                      <a:pt x="5160" y="0"/>
                      <a:pt x="11517" y="0"/>
                    </a:cubicBezTo>
                    <a:cubicBezTo>
                      <a:pt x="17494" y="-24"/>
                      <a:pt x="22492" y="4531"/>
                      <a:pt x="23034" y="10488"/>
                    </a:cubicBezTo>
                    <a:cubicBezTo>
                      <a:pt x="23310" y="12744"/>
                      <a:pt x="22907" y="15029"/>
                      <a:pt x="21882" y="17057"/>
                    </a:cubicBezTo>
                    <a:cubicBezTo>
                      <a:pt x="19797" y="20873"/>
                      <a:pt x="15744" y="23191"/>
                      <a:pt x="11402" y="23051"/>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79" name="Freeform 52">
                <a:extLst>
                  <a:ext uri="{FF2B5EF4-FFF2-40B4-BE49-F238E27FC236}">
                    <a16:creationId xmlns:a16="http://schemas.microsoft.com/office/drawing/2014/main" id="{4778FD2A-BE37-4B3C-8014-FFCB0B7B914D}"/>
                  </a:ext>
                </a:extLst>
              </p:cNvPr>
              <p:cNvSpPr/>
              <p:nvPr/>
            </p:nvSpPr>
            <p:spPr>
              <a:xfrm>
                <a:off x="4327171" y="3995816"/>
                <a:ext cx="115168" cy="276606"/>
              </a:xfrm>
              <a:custGeom>
                <a:avLst/>
                <a:gdLst>
                  <a:gd name="connsiteX0" fmla="*/ 11621 w 115168"/>
                  <a:gd name="connsiteY0" fmla="*/ 283060 h 276606"/>
                  <a:gd name="connsiteX1" fmla="*/ 1 w 115168"/>
                  <a:gd name="connsiteY1" fmla="*/ 271639 h 276606"/>
                  <a:gd name="connsiteX2" fmla="*/ 7590 w 115168"/>
                  <a:gd name="connsiteY2" fmla="*/ 260701 h 276606"/>
                  <a:gd name="connsiteX3" fmla="*/ 95003 w 115168"/>
                  <a:gd name="connsiteY3" fmla="*/ 228430 h 276606"/>
                  <a:gd name="connsiteX4" fmla="*/ 95003 w 115168"/>
                  <a:gd name="connsiteY4" fmla="*/ 11525 h 276606"/>
                  <a:gd name="connsiteX5" fmla="*/ 106520 w 115168"/>
                  <a:gd name="connsiteY5" fmla="*/ 0 h 276606"/>
                  <a:gd name="connsiteX6" fmla="*/ 118037 w 115168"/>
                  <a:gd name="connsiteY6" fmla="*/ 11525 h 276606"/>
                  <a:gd name="connsiteX7" fmla="*/ 118037 w 115168"/>
                  <a:gd name="connsiteY7" fmla="*/ 236498 h 276606"/>
                  <a:gd name="connsiteX8" fmla="*/ 110435 w 115168"/>
                  <a:gd name="connsiteY8" fmla="*/ 247332 h 276606"/>
                  <a:gd name="connsiteX9" fmla="*/ 15652 w 115168"/>
                  <a:gd name="connsiteY9" fmla="*/ 281908 h 276606"/>
                  <a:gd name="connsiteX10" fmla="*/ 11621 w 115168"/>
                  <a:gd name="connsiteY10" fmla="*/ 283060 h 276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168" h="276606">
                    <a:moveTo>
                      <a:pt x="11621" y="283060"/>
                    </a:moveTo>
                    <a:cubicBezTo>
                      <a:pt x="5263" y="283117"/>
                      <a:pt x="58" y="278003"/>
                      <a:pt x="1" y="271639"/>
                    </a:cubicBezTo>
                    <a:cubicBezTo>
                      <a:pt x="-46" y="266751"/>
                      <a:pt x="2995" y="262368"/>
                      <a:pt x="7590" y="260701"/>
                    </a:cubicBezTo>
                    <a:lnTo>
                      <a:pt x="95003" y="228430"/>
                    </a:lnTo>
                    <a:lnTo>
                      <a:pt x="95003" y="11525"/>
                    </a:lnTo>
                    <a:cubicBezTo>
                      <a:pt x="95003" y="5160"/>
                      <a:pt x="100163" y="0"/>
                      <a:pt x="106520" y="0"/>
                    </a:cubicBezTo>
                    <a:cubicBezTo>
                      <a:pt x="112877" y="0"/>
                      <a:pt x="118037" y="5160"/>
                      <a:pt x="118037" y="11525"/>
                    </a:cubicBezTo>
                    <a:lnTo>
                      <a:pt x="118037" y="236498"/>
                    </a:lnTo>
                    <a:cubicBezTo>
                      <a:pt x="118037" y="241350"/>
                      <a:pt x="114996" y="245681"/>
                      <a:pt x="110435" y="247332"/>
                    </a:cubicBezTo>
                    <a:lnTo>
                      <a:pt x="15652" y="281908"/>
                    </a:lnTo>
                    <a:cubicBezTo>
                      <a:pt x="14385" y="282520"/>
                      <a:pt x="13026" y="282909"/>
                      <a:pt x="11621" y="283060"/>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80" name="Freeform 53">
                <a:extLst>
                  <a:ext uri="{FF2B5EF4-FFF2-40B4-BE49-F238E27FC236}">
                    <a16:creationId xmlns:a16="http://schemas.microsoft.com/office/drawing/2014/main" id="{3A7AA6CB-964A-4E2B-823C-17BCD5ADC7E1}"/>
                  </a:ext>
                </a:extLst>
              </p:cNvPr>
              <p:cNvSpPr/>
              <p:nvPr/>
            </p:nvSpPr>
            <p:spPr>
              <a:xfrm>
                <a:off x="4327273" y="4001221"/>
                <a:ext cx="138202" cy="276606"/>
              </a:xfrm>
              <a:custGeom>
                <a:avLst/>
                <a:gdLst>
                  <a:gd name="connsiteX0" fmla="*/ 11519 w 138202"/>
                  <a:gd name="connsiteY0" fmla="*/ 277655 h 276606"/>
                  <a:gd name="connsiteX1" fmla="*/ 2 w 138202"/>
                  <a:gd name="connsiteY1" fmla="*/ 266130 h 276606"/>
                  <a:gd name="connsiteX2" fmla="*/ 2 w 138202"/>
                  <a:gd name="connsiteY2" fmla="*/ 71123 h 276606"/>
                  <a:gd name="connsiteX3" fmla="*/ 9331 w 138202"/>
                  <a:gd name="connsiteY3" fmla="*/ 59597 h 276606"/>
                  <a:gd name="connsiteX4" fmla="*/ 123232 w 138202"/>
                  <a:gd name="connsiteY4" fmla="*/ 1971 h 276606"/>
                  <a:gd name="connsiteX5" fmla="*/ 139759 w 138202"/>
                  <a:gd name="connsiteY5" fmla="*/ 5371 h 276606"/>
                  <a:gd name="connsiteX6" fmla="*/ 136362 w 138202"/>
                  <a:gd name="connsiteY6" fmla="*/ 21910 h 276606"/>
                  <a:gd name="connsiteX7" fmla="*/ 23036 w 138202"/>
                  <a:gd name="connsiteY7" fmla="*/ 79536 h 276606"/>
                  <a:gd name="connsiteX8" fmla="*/ 23036 w 138202"/>
                  <a:gd name="connsiteY8" fmla="*/ 266130 h 276606"/>
                  <a:gd name="connsiteX9" fmla="*/ 11519 w 138202"/>
                  <a:gd name="connsiteY9" fmla="*/ 277655 h 276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202" h="276606">
                    <a:moveTo>
                      <a:pt x="11519" y="277655"/>
                    </a:moveTo>
                    <a:cubicBezTo>
                      <a:pt x="5162" y="277655"/>
                      <a:pt x="2" y="272495"/>
                      <a:pt x="2" y="266130"/>
                    </a:cubicBezTo>
                    <a:lnTo>
                      <a:pt x="2" y="71123"/>
                    </a:lnTo>
                    <a:cubicBezTo>
                      <a:pt x="-101" y="65522"/>
                      <a:pt x="3837" y="60660"/>
                      <a:pt x="9331" y="59597"/>
                    </a:cubicBezTo>
                    <a:cubicBezTo>
                      <a:pt x="9331" y="59597"/>
                      <a:pt x="54822" y="50031"/>
                      <a:pt x="123232" y="1971"/>
                    </a:cubicBezTo>
                    <a:cubicBezTo>
                      <a:pt x="128738" y="-1657"/>
                      <a:pt x="136131" y="-135"/>
                      <a:pt x="139759" y="5371"/>
                    </a:cubicBezTo>
                    <a:cubicBezTo>
                      <a:pt x="143387" y="10877"/>
                      <a:pt x="141867" y="18282"/>
                      <a:pt x="136362" y="21910"/>
                    </a:cubicBezTo>
                    <a:cubicBezTo>
                      <a:pt x="101800" y="46890"/>
                      <a:pt x="63575" y="66332"/>
                      <a:pt x="23036" y="79536"/>
                    </a:cubicBezTo>
                    <a:lnTo>
                      <a:pt x="23036" y="266130"/>
                    </a:lnTo>
                    <a:cubicBezTo>
                      <a:pt x="23036" y="272495"/>
                      <a:pt x="17876" y="277655"/>
                      <a:pt x="11519" y="277655"/>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81" name="Freeform 54">
                <a:extLst>
                  <a:ext uri="{FF2B5EF4-FFF2-40B4-BE49-F238E27FC236}">
                    <a16:creationId xmlns:a16="http://schemas.microsoft.com/office/drawing/2014/main" id="{41149A76-158F-47C5-B16A-324449DC7C19}"/>
                  </a:ext>
                </a:extLst>
              </p:cNvPr>
              <p:cNvSpPr/>
              <p:nvPr/>
            </p:nvSpPr>
            <p:spPr>
              <a:xfrm>
                <a:off x="4218692" y="3954353"/>
                <a:ext cx="138202" cy="184404"/>
              </a:xfrm>
              <a:custGeom>
                <a:avLst/>
                <a:gdLst>
                  <a:gd name="connsiteX0" fmla="*/ 72765 w 138202"/>
                  <a:gd name="connsiteY0" fmla="*/ 185989 h 184404"/>
                  <a:gd name="connsiteX1" fmla="*/ 65049 w 138202"/>
                  <a:gd name="connsiteY1" fmla="*/ 182993 h 184404"/>
                  <a:gd name="connsiteX2" fmla="*/ 209 w 138202"/>
                  <a:gd name="connsiteY2" fmla="*/ 83069 h 184404"/>
                  <a:gd name="connsiteX3" fmla="*/ 9307 w 138202"/>
                  <a:gd name="connsiteY3" fmla="*/ 69584 h 184404"/>
                  <a:gd name="connsiteX4" fmla="*/ 22783 w 138202"/>
                  <a:gd name="connsiteY4" fmla="*/ 78689 h 184404"/>
                  <a:gd name="connsiteX5" fmla="*/ 72535 w 138202"/>
                  <a:gd name="connsiteY5" fmla="*/ 158329 h 184404"/>
                  <a:gd name="connsiteX6" fmla="*/ 122058 w 138202"/>
                  <a:gd name="connsiteY6" fmla="*/ 67625 h 184404"/>
                  <a:gd name="connsiteX7" fmla="*/ 72996 w 138202"/>
                  <a:gd name="connsiteY7" fmla="*/ 23253 h 184404"/>
                  <a:gd name="connsiteX8" fmla="*/ 72996 w 138202"/>
                  <a:gd name="connsiteY8" fmla="*/ 23253 h 184404"/>
                  <a:gd name="connsiteX9" fmla="*/ 45355 w 138202"/>
                  <a:gd name="connsiteY9" fmla="*/ 32012 h 184404"/>
                  <a:gd name="connsiteX10" fmla="*/ 40288 w 138202"/>
                  <a:gd name="connsiteY10" fmla="*/ 46419 h 184404"/>
                  <a:gd name="connsiteX11" fmla="*/ 42937 w 138202"/>
                  <a:gd name="connsiteY11" fmla="*/ 57944 h 184404"/>
                  <a:gd name="connsiteX12" fmla="*/ 52150 w 138202"/>
                  <a:gd name="connsiteY12" fmla="*/ 48263 h 184404"/>
                  <a:gd name="connsiteX13" fmla="*/ 82670 w 138202"/>
                  <a:gd name="connsiteY13" fmla="*/ 42385 h 184404"/>
                  <a:gd name="connsiteX14" fmla="*/ 104552 w 138202"/>
                  <a:gd name="connsiteY14" fmla="*/ 66242 h 184404"/>
                  <a:gd name="connsiteX15" fmla="*/ 93035 w 138202"/>
                  <a:gd name="connsiteY15" fmla="*/ 98859 h 184404"/>
                  <a:gd name="connsiteX16" fmla="*/ 59060 w 138202"/>
                  <a:gd name="connsiteY16" fmla="*/ 101855 h 184404"/>
                  <a:gd name="connsiteX17" fmla="*/ 56066 w 138202"/>
                  <a:gd name="connsiteY17" fmla="*/ 100472 h 184404"/>
                  <a:gd name="connsiteX18" fmla="*/ 45701 w 138202"/>
                  <a:gd name="connsiteY18" fmla="*/ 107387 h 184404"/>
                  <a:gd name="connsiteX19" fmla="*/ 45701 w 138202"/>
                  <a:gd name="connsiteY19" fmla="*/ 107387 h 184404"/>
                  <a:gd name="connsiteX20" fmla="*/ 34184 w 138202"/>
                  <a:gd name="connsiteY20" fmla="*/ 95862 h 184404"/>
                  <a:gd name="connsiteX21" fmla="*/ 34184 w 138202"/>
                  <a:gd name="connsiteY21" fmla="*/ 84337 h 184404"/>
                  <a:gd name="connsiteX22" fmla="*/ 17485 w 138202"/>
                  <a:gd name="connsiteY22" fmla="*/ 47225 h 184404"/>
                  <a:gd name="connsiteX23" fmla="*/ 27850 w 138202"/>
                  <a:gd name="connsiteY23" fmla="*/ 17029 h 184404"/>
                  <a:gd name="connsiteX24" fmla="*/ 73111 w 138202"/>
                  <a:gd name="connsiteY24" fmla="*/ 202 h 184404"/>
                  <a:gd name="connsiteX25" fmla="*/ 73111 w 138202"/>
                  <a:gd name="connsiteY25" fmla="*/ 202 h 184404"/>
                  <a:gd name="connsiteX26" fmla="*/ 145091 w 138202"/>
                  <a:gd name="connsiteY26" fmla="*/ 65551 h 184404"/>
                  <a:gd name="connsiteX27" fmla="*/ 80942 w 138202"/>
                  <a:gd name="connsiteY27" fmla="*/ 182647 h 184404"/>
                  <a:gd name="connsiteX28" fmla="*/ 72765 w 138202"/>
                  <a:gd name="connsiteY28" fmla="*/ 185989 h 184404"/>
                  <a:gd name="connsiteX29" fmla="*/ 58945 w 138202"/>
                  <a:gd name="connsiteY29" fmla="*/ 75232 h 184404"/>
                  <a:gd name="connsiteX30" fmla="*/ 68964 w 138202"/>
                  <a:gd name="connsiteY30" fmla="*/ 80764 h 184404"/>
                  <a:gd name="connsiteX31" fmla="*/ 78869 w 138202"/>
                  <a:gd name="connsiteY31" fmla="*/ 80764 h 184404"/>
                  <a:gd name="connsiteX32" fmla="*/ 81749 w 138202"/>
                  <a:gd name="connsiteY32" fmla="*/ 70967 h 184404"/>
                  <a:gd name="connsiteX33" fmla="*/ 74838 w 138202"/>
                  <a:gd name="connsiteY33" fmla="*/ 64283 h 184404"/>
                  <a:gd name="connsiteX34" fmla="*/ 66662 w 138202"/>
                  <a:gd name="connsiteY34" fmla="*/ 66012 h 184404"/>
                  <a:gd name="connsiteX35" fmla="*/ 58945 w 138202"/>
                  <a:gd name="connsiteY35" fmla="*/ 75232 h 18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8202" h="184404">
                    <a:moveTo>
                      <a:pt x="72765" y="185989"/>
                    </a:moveTo>
                    <a:cubicBezTo>
                      <a:pt x="69909" y="185983"/>
                      <a:pt x="67157" y="184914"/>
                      <a:pt x="65049" y="182993"/>
                    </a:cubicBezTo>
                    <a:cubicBezTo>
                      <a:pt x="44549" y="164552"/>
                      <a:pt x="7465" y="122716"/>
                      <a:pt x="209" y="83069"/>
                    </a:cubicBezTo>
                    <a:cubicBezTo>
                      <a:pt x="-989" y="76834"/>
                      <a:pt x="3077" y="70804"/>
                      <a:pt x="9307" y="69584"/>
                    </a:cubicBezTo>
                    <a:cubicBezTo>
                      <a:pt x="15538" y="68387"/>
                      <a:pt x="21562" y="72458"/>
                      <a:pt x="22783" y="78689"/>
                    </a:cubicBezTo>
                    <a:cubicBezTo>
                      <a:pt x="27735" y="103699"/>
                      <a:pt x="50307" y="136316"/>
                      <a:pt x="72535" y="158329"/>
                    </a:cubicBezTo>
                    <a:cubicBezTo>
                      <a:pt x="107086" y="122255"/>
                      <a:pt x="124246" y="91713"/>
                      <a:pt x="122058" y="67625"/>
                    </a:cubicBezTo>
                    <a:cubicBezTo>
                      <a:pt x="119121" y="42625"/>
                      <a:pt x="98149" y="23657"/>
                      <a:pt x="72996" y="23253"/>
                    </a:cubicBezTo>
                    <a:lnTo>
                      <a:pt x="72996" y="23253"/>
                    </a:lnTo>
                    <a:cubicBezTo>
                      <a:pt x="62976" y="22285"/>
                      <a:pt x="52991" y="25447"/>
                      <a:pt x="45355" y="32012"/>
                    </a:cubicBezTo>
                    <a:cubicBezTo>
                      <a:pt x="41808" y="35944"/>
                      <a:pt x="39988" y="41132"/>
                      <a:pt x="40288" y="46419"/>
                    </a:cubicBezTo>
                    <a:cubicBezTo>
                      <a:pt x="40426" y="50395"/>
                      <a:pt x="41324" y="54307"/>
                      <a:pt x="42937" y="57944"/>
                    </a:cubicBezTo>
                    <a:cubicBezTo>
                      <a:pt x="45539" y="54303"/>
                      <a:pt x="48638" y="51045"/>
                      <a:pt x="52150" y="48263"/>
                    </a:cubicBezTo>
                    <a:cubicBezTo>
                      <a:pt x="60500" y="40902"/>
                      <a:pt x="72190" y="38651"/>
                      <a:pt x="82670" y="42385"/>
                    </a:cubicBezTo>
                    <a:cubicBezTo>
                      <a:pt x="93461" y="46216"/>
                      <a:pt x="101661" y="55151"/>
                      <a:pt x="104552" y="66242"/>
                    </a:cubicBezTo>
                    <a:cubicBezTo>
                      <a:pt x="107236" y="78422"/>
                      <a:pt x="102767" y="91070"/>
                      <a:pt x="93035" y="98859"/>
                    </a:cubicBezTo>
                    <a:cubicBezTo>
                      <a:pt x="83223" y="106287"/>
                      <a:pt x="70024" y="107449"/>
                      <a:pt x="59060" y="101855"/>
                    </a:cubicBezTo>
                    <a:lnTo>
                      <a:pt x="56066" y="100472"/>
                    </a:lnTo>
                    <a:cubicBezTo>
                      <a:pt x="54258" y="104610"/>
                      <a:pt x="50215" y="107312"/>
                      <a:pt x="45701" y="107387"/>
                    </a:cubicBezTo>
                    <a:lnTo>
                      <a:pt x="45701" y="107387"/>
                    </a:lnTo>
                    <a:cubicBezTo>
                      <a:pt x="39344" y="107387"/>
                      <a:pt x="34184" y="102227"/>
                      <a:pt x="34184" y="95862"/>
                    </a:cubicBezTo>
                    <a:cubicBezTo>
                      <a:pt x="34184" y="92327"/>
                      <a:pt x="34184" y="88486"/>
                      <a:pt x="34184" y="84337"/>
                    </a:cubicBezTo>
                    <a:cubicBezTo>
                      <a:pt x="23934" y="74660"/>
                      <a:pt x="17934" y="61317"/>
                      <a:pt x="17485" y="47225"/>
                    </a:cubicBezTo>
                    <a:cubicBezTo>
                      <a:pt x="16874" y="36193"/>
                      <a:pt x="20594" y="25360"/>
                      <a:pt x="27850" y="17029"/>
                    </a:cubicBezTo>
                    <a:cubicBezTo>
                      <a:pt x="39677" y="4946"/>
                      <a:pt x="56273" y="-1224"/>
                      <a:pt x="73111" y="202"/>
                    </a:cubicBezTo>
                    <a:lnTo>
                      <a:pt x="73111" y="202"/>
                    </a:lnTo>
                    <a:cubicBezTo>
                      <a:pt x="110276" y="364"/>
                      <a:pt x="141325" y="28555"/>
                      <a:pt x="145091" y="65551"/>
                    </a:cubicBezTo>
                    <a:cubicBezTo>
                      <a:pt x="148086" y="99089"/>
                      <a:pt x="127125" y="137353"/>
                      <a:pt x="80942" y="182647"/>
                    </a:cubicBezTo>
                    <a:cubicBezTo>
                      <a:pt x="78765" y="184805"/>
                      <a:pt x="75829" y="186007"/>
                      <a:pt x="72765" y="185989"/>
                    </a:cubicBezTo>
                    <a:close/>
                    <a:moveTo>
                      <a:pt x="58945" y="75232"/>
                    </a:moveTo>
                    <a:cubicBezTo>
                      <a:pt x="62147" y="77309"/>
                      <a:pt x="65498" y="79157"/>
                      <a:pt x="68964" y="80764"/>
                    </a:cubicBezTo>
                    <a:cubicBezTo>
                      <a:pt x="71982" y="82691"/>
                      <a:pt x="75852" y="82691"/>
                      <a:pt x="78869" y="80764"/>
                    </a:cubicBezTo>
                    <a:cubicBezTo>
                      <a:pt x="81633" y="78327"/>
                      <a:pt x="82750" y="74515"/>
                      <a:pt x="81749" y="70967"/>
                    </a:cubicBezTo>
                    <a:cubicBezTo>
                      <a:pt x="80528" y="67838"/>
                      <a:pt x="78006" y="65397"/>
                      <a:pt x="74838" y="64283"/>
                    </a:cubicBezTo>
                    <a:cubicBezTo>
                      <a:pt x="72005" y="63234"/>
                      <a:pt x="68827" y="63906"/>
                      <a:pt x="66662" y="66012"/>
                    </a:cubicBezTo>
                    <a:cubicBezTo>
                      <a:pt x="63391" y="68422"/>
                      <a:pt x="60742" y="71584"/>
                      <a:pt x="58945" y="75232"/>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grpSp>
        <p:grpSp>
          <p:nvGrpSpPr>
            <p:cNvPr id="25" name="Group 24">
              <a:extLst>
                <a:ext uri="{FF2B5EF4-FFF2-40B4-BE49-F238E27FC236}">
                  <a16:creationId xmlns:a16="http://schemas.microsoft.com/office/drawing/2014/main" id="{F1C1DDCA-F12D-4BED-B58C-F6C9D9AEAEF6}"/>
                </a:ext>
              </a:extLst>
            </p:cNvPr>
            <p:cNvGrpSpPr/>
            <p:nvPr/>
          </p:nvGrpSpPr>
          <p:grpSpPr>
            <a:xfrm>
              <a:off x="4220153" y="2313691"/>
              <a:ext cx="552808" cy="553212"/>
              <a:chOff x="4021157" y="2622217"/>
              <a:chExt cx="552808" cy="553212"/>
            </a:xfrm>
            <a:solidFill>
              <a:schemeClr val="accent2"/>
            </a:solidFill>
          </p:grpSpPr>
          <p:sp>
            <p:nvSpPr>
              <p:cNvPr id="71" name="Freeform 97">
                <a:extLst>
                  <a:ext uri="{FF2B5EF4-FFF2-40B4-BE49-F238E27FC236}">
                    <a16:creationId xmlns:a16="http://schemas.microsoft.com/office/drawing/2014/main" id="{AA4459E0-2537-457A-B5AA-05A5D25FD5D8}"/>
                  </a:ext>
                </a:extLst>
              </p:cNvPr>
              <p:cNvSpPr/>
              <p:nvPr/>
            </p:nvSpPr>
            <p:spPr>
              <a:xfrm>
                <a:off x="4021157" y="2622217"/>
                <a:ext cx="552808" cy="553212"/>
              </a:xfrm>
              <a:custGeom>
                <a:avLst/>
                <a:gdLst>
                  <a:gd name="connsiteX0" fmla="*/ 276404 w 552808"/>
                  <a:gd name="connsiteY0" fmla="*/ 553212 h 553212"/>
                  <a:gd name="connsiteX1" fmla="*/ 0 w 552808"/>
                  <a:gd name="connsiteY1" fmla="*/ 276606 h 553212"/>
                  <a:gd name="connsiteX2" fmla="*/ 276404 w 552808"/>
                  <a:gd name="connsiteY2" fmla="*/ 0 h 553212"/>
                  <a:gd name="connsiteX3" fmla="*/ 552809 w 552808"/>
                  <a:gd name="connsiteY3" fmla="*/ 276606 h 553212"/>
                  <a:gd name="connsiteX4" fmla="*/ 276404 w 552808"/>
                  <a:gd name="connsiteY4" fmla="*/ 553212 h 553212"/>
                  <a:gd name="connsiteX5" fmla="*/ 276404 w 552808"/>
                  <a:gd name="connsiteY5" fmla="*/ 23051 h 553212"/>
                  <a:gd name="connsiteX6" fmla="*/ 23034 w 552808"/>
                  <a:gd name="connsiteY6" fmla="*/ 276606 h 553212"/>
                  <a:gd name="connsiteX7" fmla="*/ 276404 w 552808"/>
                  <a:gd name="connsiteY7" fmla="*/ 530162 h 553212"/>
                  <a:gd name="connsiteX8" fmla="*/ 529775 w 552808"/>
                  <a:gd name="connsiteY8" fmla="*/ 276606 h 553212"/>
                  <a:gd name="connsiteX9" fmla="*/ 276404 w 552808"/>
                  <a:gd name="connsiteY9" fmla="*/ 23051 h 553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808" h="553212">
                    <a:moveTo>
                      <a:pt x="276404" y="553212"/>
                    </a:moveTo>
                    <a:cubicBezTo>
                      <a:pt x="123748" y="553212"/>
                      <a:pt x="0" y="429373"/>
                      <a:pt x="0" y="276606"/>
                    </a:cubicBezTo>
                    <a:cubicBezTo>
                      <a:pt x="0" y="123841"/>
                      <a:pt x="123748" y="0"/>
                      <a:pt x="276404" y="0"/>
                    </a:cubicBezTo>
                    <a:cubicBezTo>
                      <a:pt x="429060" y="0"/>
                      <a:pt x="552809" y="123841"/>
                      <a:pt x="552809" y="276606"/>
                    </a:cubicBezTo>
                    <a:cubicBezTo>
                      <a:pt x="552809" y="429373"/>
                      <a:pt x="429060" y="553212"/>
                      <a:pt x="276404" y="553212"/>
                    </a:cubicBezTo>
                    <a:close/>
                    <a:moveTo>
                      <a:pt x="276404" y="23051"/>
                    </a:moveTo>
                    <a:cubicBezTo>
                      <a:pt x="136475" y="23051"/>
                      <a:pt x="23034" y="136571"/>
                      <a:pt x="23034" y="276606"/>
                    </a:cubicBezTo>
                    <a:cubicBezTo>
                      <a:pt x="23034" y="416638"/>
                      <a:pt x="136475" y="530162"/>
                      <a:pt x="276404" y="530162"/>
                    </a:cubicBezTo>
                    <a:cubicBezTo>
                      <a:pt x="416334" y="530162"/>
                      <a:pt x="529775" y="416638"/>
                      <a:pt x="529775" y="276606"/>
                    </a:cubicBezTo>
                    <a:cubicBezTo>
                      <a:pt x="529775" y="136571"/>
                      <a:pt x="416334" y="23051"/>
                      <a:pt x="276404" y="23051"/>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72" name="Freeform 167">
                <a:extLst>
                  <a:ext uri="{FF2B5EF4-FFF2-40B4-BE49-F238E27FC236}">
                    <a16:creationId xmlns:a16="http://schemas.microsoft.com/office/drawing/2014/main" id="{6381F470-4AC5-419A-808E-309F301F3751}"/>
                  </a:ext>
                </a:extLst>
              </p:cNvPr>
              <p:cNvSpPr/>
              <p:nvPr/>
            </p:nvSpPr>
            <p:spPr>
              <a:xfrm>
                <a:off x="4170843" y="2720643"/>
                <a:ext cx="241854" cy="334232"/>
              </a:xfrm>
              <a:custGeom>
                <a:avLst/>
                <a:gdLst>
                  <a:gd name="connsiteX0" fmla="*/ 170252 w 241853"/>
                  <a:gd name="connsiteY0" fmla="*/ 343568 h 334232"/>
                  <a:gd name="connsiteX1" fmla="*/ 124185 w 241853"/>
                  <a:gd name="connsiteY1" fmla="*/ 343568 h 334232"/>
                  <a:gd name="connsiteX2" fmla="*/ 64988 w 241853"/>
                  <a:gd name="connsiteY2" fmla="*/ 343568 h 334232"/>
                  <a:gd name="connsiteX3" fmla="*/ 35159 w 241853"/>
                  <a:gd name="connsiteY3" fmla="*/ 343568 h 334232"/>
                  <a:gd name="connsiteX4" fmla="*/ 3949 w 241853"/>
                  <a:gd name="connsiteY4" fmla="*/ 325704 h 334232"/>
                  <a:gd name="connsiteX5" fmla="*/ 4870 w 241853"/>
                  <a:gd name="connsiteY5" fmla="*/ 291128 h 334232"/>
                  <a:gd name="connsiteX6" fmla="*/ 76620 w 241853"/>
                  <a:gd name="connsiteY6" fmla="*/ 178641 h 334232"/>
                  <a:gd name="connsiteX7" fmla="*/ 76620 w 241853"/>
                  <a:gd name="connsiteY7" fmla="*/ 79870 h 334232"/>
                  <a:gd name="connsiteX8" fmla="*/ 58884 w 241853"/>
                  <a:gd name="connsiteY8" fmla="*/ 79870 h 334232"/>
                  <a:gd name="connsiteX9" fmla="*/ 47367 w 241853"/>
                  <a:gd name="connsiteY9" fmla="*/ 68345 h 334232"/>
                  <a:gd name="connsiteX10" fmla="*/ 47367 w 241853"/>
                  <a:gd name="connsiteY10" fmla="*/ 11525 h 334232"/>
                  <a:gd name="connsiteX11" fmla="*/ 58884 w 241853"/>
                  <a:gd name="connsiteY11" fmla="*/ 0 h 334232"/>
                  <a:gd name="connsiteX12" fmla="*/ 191328 w 241853"/>
                  <a:gd name="connsiteY12" fmla="*/ 0 h 334232"/>
                  <a:gd name="connsiteX13" fmla="*/ 202845 w 241853"/>
                  <a:gd name="connsiteY13" fmla="*/ 11525 h 334232"/>
                  <a:gd name="connsiteX14" fmla="*/ 202845 w 241853"/>
                  <a:gd name="connsiteY14" fmla="*/ 68345 h 334232"/>
                  <a:gd name="connsiteX15" fmla="*/ 191328 w 241853"/>
                  <a:gd name="connsiteY15" fmla="*/ 79870 h 334232"/>
                  <a:gd name="connsiteX16" fmla="*/ 152861 w 241853"/>
                  <a:gd name="connsiteY16" fmla="*/ 79870 h 334232"/>
                  <a:gd name="connsiteX17" fmla="*/ 141345 w 241853"/>
                  <a:gd name="connsiteY17" fmla="*/ 68345 h 334232"/>
                  <a:gd name="connsiteX18" fmla="*/ 152861 w 241853"/>
                  <a:gd name="connsiteY18" fmla="*/ 56819 h 334232"/>
                  <a:gd name="connsiteX19" fmla="*/ 179811 w 241853"/>
                  <a:gd name="connsiteY19" fmla="*/ 56819 h 334232"/>
                  <a:gd name="connsiteX20" fmla="*/ 179811 w 241853"/>
                  <a:gd name="connsiteY20" fmla="*/ 23051 h 334232"/>
                  <a:gd name="connsiteX21" fmla="*/ 70401 w 241853"/>
                  <a:gd name="connsiteY21" fmla="*/ 23051 h 334232"/>
                  <a:gd name="connsiteX22" fmla="*/ 70401 w 241853"/>
                  <a:gd name="connsiteY22" fmla="*/ 56819 h 334232"/>
                  <a:gd name="connsiteX23" fmla="*/ 88137 w 241853"/>
                  <a:gd name="connsiteY23" fmla="*/ 56819 h 334232"/>
                  <a:gd name="connsiteX24" fmla="*/ 99654 w 241853"/>
                  <a:gd name="connsiteY24" fmla="*/ 68345 h 334232"/>
                  <a:gd name="connsiteX25" fmla="*/ 99654 w 241853"/>
                  <a:gd name="connsiteY25" fmla="*/ 180485 h 334232"/>
                  <a:gd name="connsiteX26" fmla="*/ 97926 w 241853"/>
                  <a:gd name="connsiteY26" fmla="*/ 186709 h 334232"/>
                  <a:gd name="connsiteX27" fmla="*/ 24794 w 241853"/>
                  <a:gd name="connsiteY27" fmla="*/ 301270 h 334232"/>
                  <a:gd name="connsiteX28" fmla="*/ 23988 w 241853"/>
                  <a:gd name="connsiteY28" fmla="*/ 312795 h 334232"/>
                  <a:gd name="connsiteX29" fmla="*/ 36772 w 241853"/>
                  <a:gd name="connsiteY29" fmla="*/ 318904 h 334232"/>
                  <a:gd name="connsiteX30" fmla="*/ 64527 w 241853"/>
                  <a:gd name="connsiteY30" fmla="*/ 318904 h 334232"/>
                  <a:gd name="connsiteX31" fmla="*/ 124530 w 241853"/>
                  <a:gd name="connsiteY31" fmla="*/ 318904 h 334232"/>
                  <a:gd name="connsiteX32" fmla="*/ 214592 w 241853"/>
                  <a:gd name="connsiteY32" fmla="*/ 318904 h 334232"/>
                  <a:gd name="connsiteX33" fmla="*/ 226684 w 241853"/>
                  <a:gd name="connsiteY33" fmla="*/ 314870 h 334232"/>
                  <a:gd name="connsiteX34" fmla="*/ 226684 w 241853"/>
                  <a:gd name="connsiteY34" fmla="*/ 299772 h 334232"/>
                  <a:gd name="connsiteX35" fmla="*/ 154013 w 241853"/>
                  <a:gd name="connsiteY35" fmla="*/ 186133 h 334232"/>
                  <a:gd name="connsiteX36" fmla="*/ 152286 w 241853"/>
                  <a:gd name="connsiteY36" fmla="*/ 179909 h 334232"/>
                  <a:gd name="connsiteX37" fmla="*/ 152286 w 241853"/>
                  <a:gd name="connsiteY37" fmla="*/ 98887 h 334232"/>
                  <a:gd name="connsiteX38" fmla="*/ 163803 w 241853"/>
                  <a:gd name="connsiteY38" fmla="*/ 87361 h 334232"/>
                  <a:gd name="connsiteX39" fmla="*/ 175319 w 241853"/>
                  <a:gd name="connsiteY39" fmla="*/ 98887 h 334232"/>
                  <a:gd name="connsiteX40" fmla="*/ 175319 w 241853"/>
                  <a:gd name="connsiteY40" fmla="*/ 177143 h 334232"/>
                  <a:gd name="connsiteX41" fmla="*/ 246609 w 241853"/>
                  <a:gd name="connsiteY41" fmla="*/ 288823 h 334232"/>
                  <a:gd name="connsiteX42" fmla="*/ 243614 w 241853"/>
                  <a:gd name="connsiteY42" fmla="*/ 330429 h 334232"/>
                  <a:gd name="connsiteX43" fmla="*/ 215168 w 241853"/>
                  <a:gd name="connsiteY43" fmla="*/ 342530 h 334232"/>
                  <a:gd name="connsiteX44" fmla="*/ 170252 w 241853"/>
                  <a:gd name="connsiteY44" fmla="*/ 343568 h 334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41853" h="334232">
                    <a:moveTo>
                      <a:pt x="170252" y="343568"/>
                    </a:moveTo>
                    <a:cubicBezTo>
                      <a:pt x="154935" y="343568"/>
                      <a:pt x="139617" y="343568"/>
                      <a:pt x="124185" y="343568"/>
                    </a:cubicBezTo>
                    <a:cubicBezTo>
                      <a:pt x="104376" y="343568"/>
                      <a:pt x="84912" y="342761"/>
                      <a:pt x="64988" y="343568"/>
                    </a:cubicBezTo>
                    <a:cubicBezTo>
                      <a:pt x="55314" y="343568"/>
                      <a:pt x="45179" y="343568"/>
                      <a:pt x="35159" y="343568"/>
                    </a:cubicBezTo>
                    <a:cubicBezTo>
                      <a:pt x="22376" y="343395"/>
                      <a:pt x="10582" y="336641"/>
                      <a:pt x="3949" y="325704"/>
                    </a:cubicBezTo>
                    <a:cubicBezTo>
                      <a:pt x="-1625" y="314766"/>
                      <a:pt x="-1280" y="301754"/>
                      <a:pt x="4870" y="291128"/>
                    </a:cubicBezTo>
                    <a:lnTo>
                      <a:pt x="76620" y="178641"/>
                    </a:lnTo>
                    <a:lnTo>
                      <a:pt x="76620" y="79870"/>
                    </a:lnTo>
                    <a:lnTo>
                      <a:pt x="58884" y="79870"/>
                    </a:lnTo>
                    <a:cubicBezTo>
                      <a:pt x="52527" y="79870"/>
                      <a:pt x="47367" y="74710"/>
                      <a:pt x="47367" y="68345"/>
                    </a:cubicBezTo>
                    <a:lnTo>
                      <a:pt x="47367" y="11525"/>
                    </a:lnTo>
                    <a:cubicBezTo>
                      <a:pt x="47367" y="5160"/>
                      <a:pt x="52527" y="0"/>
                      <a:pt x="58884" y="0"/>
                    </a:cubicBezTo>
                    <a:lnTo>
                      <a:pt x="191328" y="0"/>
                    </a:lnTo>
                    <a:cubicBezTo>
                      <a:pt x="197685" y="0"/>
                      <a:pt x="202845" y="5160"/>
                      <a:pt x="202845" y="11525"/>
                    </a:cubicBezTo>
                    <a:lnTo>
                      <a:pt x="202845" y="68345"/>
                    </a:lnTo>
                    <a:cubicBezTo>
                      <a:pt x="202845" y="74710"/>
                      <a:pt x="197685" y="79870"/>
                      <a:pt x="191328" y="79870"/>
                    </a:cubicBezTo>
                    <a:lnTo>
                      <a:pt x="152861" y="79870"/>
                    </a:lnTo>
                    <a:cubicBezTo>
                      <a:pt x="146504" y="79870"/>
                      <a:pt x="141345" y="74710"/>
                      <a:pt x="141345" y="68345"/>
                    </a:cubicBezTo>
                    <a:cubicBezTo>
                      <a:pt x="141345" y="61979"/>
                      <a:pt x="146504" y="56819"/>
                      <a:pt x="152861" y="56819"/>
                    </a:cubicBezTo>
                    <a:lnTo>
                      <a:pt x="179811" y="56819"/>
                    </a:lnTo>
                    <a:lnTo>
                      <a:pt x="179811" y="23051"/>
                    </a:lnTo>
                    <a:lnTo>
                      <a:pt x="70401" y="23051"/>
                    </a:lnTo>
                    <a:lnTo>
                      <a:pt x="70401" y="56819"/>
                    </a:lnTo>
                    <a:lnTo>
                      <a:pt x="88137" y="56819"/>
                    </a:lnTo>
                    <a:cubicBezTo>
                      <a:pt x="94494" y="56819"/>
                      <a:pt x="99654" y="61979"/>
                      <a:pt x="99654" y="68345"/>
                    </a:cubicBezTo>
                    <a:lnTo>
                      <a:pt x="99654" y="180485"/>
                    </a:lnTo>
                    <a:cubicBezTo>
                      <a:pt x="99677" y="182682"/>
                      <a:pt x="99078" y="184842"/>
                      <a:pt x="97926" y="186709"/>
                    </a:cubicBezTo>
                    <a:lnTo>
                      <a:pt x="24794" y="301270"/>
                    </a:lnTo>
                    <a:cubicBezTo>
                      <a:pt x="22744" y="304774"/>
                      <a:pt x="22445" y="309038"/>
                      <a:pt x="23988" y="312795"/>
                    </a:cubicBezTo>
                    <a:cubicBezTo>
                      <a:pt x="26925" y="316887"/>
                      <a:pt x="31750" y="319180"/>
                      <a:pt x="36772" y="318904"/>
                    </a:cubicBezTo>
                    <a:cubicBezTo>
                      <a:pt x="45755" y="319595"/>
                      <a:pt x="55314" y="318904"/>
                      <a:pt x="64527" y="318904"/>
                    </a:cubicBezTo>
                    <a:cubicBezTo>
                      <a:pt x="84682" y="318904"/>
                      <a:pt x="104491" y="318904"/>
                      <a:pt x="124530" y="318904"/>
                    </a:cubicBezTo>
                    <a:cubicBezTo>
                      <a:pt x="154244" y="318904"/>
                      <a:pt x="184878" y="319941"/>
                      <a:pt x="214592" y="318904"/>
                    </a:cubicBezTo>
                    <a:cubicBezTo>
                      <a:pt x="218968" y="318973"/>
                      <a:pt x="223230" y="317555"/>
                      <a:pt x="226684" y="314870"/>
                    </a:cubicBezTo>
                    <a:cubicBezTo>
                      <a:pt x="230209" y="310456"/>
                      <a:pt x="230209" y="304186"/>
                      <a:pt x="226684" y="299772"/>
                    </a:cubicBezTo>
                    <a:lnTo>
                      <a:pt x="154013" y="186133"/>
                    </a:lnTo>
                    <a:cubicBezTo>
                      <a:pt x="152861" y="184266"/>
                      <a:pt x="152251" y="182106"/>
                      <a:pt x="152286" y="179909"/>
                    </a:cubicBezTo>
                    <a:lnTo>
                      <a:pt x="152286" y="98887"/>
                    </a:lnTo>
                    <a:cubicBezTo>
                      <a:pt x="152286" y="92521"/>
                      <a:pt x="157445" y="87361"/>
                      <a:pt x="163803" y="87361"/>
                    </a:cubicBezTo>
                    <a:cubicBezTo>
                      <a:pt x="170160" y="87361"/>
                      <a:pt x="175319" y="92521"/>
                      <a:pt x="175319" y="98887"/>
                    </a:cubicBezTo>
                    <a:lnTo>
                      <a:pt x="175319" y="177143"/>
                    </a:lnTo>
                    <a:lnTo>
                      <a:pt x="246609" y="288823"/>
                    </a:lnTo>
                    <a:cubicBezTo>
                      <a:pt x="254751" y="301869"/>
                      <a:pt x="253542" y="318685"/>
                      <a:pt x="243614" y="330429"/>
                    </a:cubicBezTo>
                    <a:cubicBezTo>
                      <a:pt x="236048" y="337989"/>
                      <a:pt x="225855" y="342334"/>
                      <a:pt x="215168" y="342530"/>
                    </a:cubicBezTo>
                    <a:cubicBezTo>
                      <a:pt x="201002" y="343337"/>
                      <a:pt x="185569" y="343568"/>
                      <a:pt x="170252" y="343568"/>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73" name="Freeform 168">
                <a:extLst>
                  <a:ext uri="{FF2B5EF4-FFF2-40B4-BE49-F238E27FC236}">
                    <a16:creationId xmlns:a16="http://schemas.microsoft.com/office/drawing/2014/main" id="{2AC55699-BC60-4455-95E7-5F4077DF6858}"/>
                  </a:ext>
                </a:extLst>
              </p:cNvPr>
              <p:cNvSpPr/>
              <p:nvPr/>
            </p:nvSpPr>
            <p:spPr>
              <a:xfrm>
                <a:off x="4226272" y="2923602"/>
                <a:ext cx="138202" cy="23051"/>
              </a:xfrm>
              <a:custGeom>
                <a:avLst/>
                <a:gdLst>
                  <a:gd name="connsiteX0" fmla="*/ 131062 w 138202"/>
                  <a:gd name="connsiteY0" fmla="*/ 23051 h 23050"/>
                  <a:gd name="connsiteX1" fmla="*/ 11517 w 138202"/>
                  <a:gd name="connsiteY1" fmla="*/ 23051 h 23050"/>
                  <a:gd name="connsiteX2" fmla="*/ 0 w 138202"/>
                  <a:gd name="connsiteY2" fmla="*/ 11525 h 23050"/>
                  <a:gd name="connsiteX3" fmla="*/ 11517 w 138202"/>
                  <a:gd name="connsiteY3" fmla="*/ 0 h 23050"/>
                  <a:gd name="connsiteX4" fmla="*/ 131062 w 138202"/>
                  <a:gd name="connsiteY4" fmla="*/ 0 h 23050"/>
                  <a:gd name="connsiteX5" fmla="*/ 142579 w 138202"/>
                  <a:gd name="connsiteY5" fmla="*/ 11525 h 23050"/>
                  <a:gd name="connsiteX6" fmla="*/ 131062 w 138202"/>
                  <a:gd name="connsiteY6" fmla="*/ 23051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202" h="23050">
                    <a:moveTo>
                      <a:pt x="131062" y="23051"/>
                    </a:moveTo>
                    <a:lnTo>
                      <a:pt x="11517" y="23051"/>
                    </a:lnTo>
                    <a:cubicBezTo>
                      <a:pt x="5160" y="23051"/>
                      <a:pt x="0" y="17887"/>
                      <a:pt x="0" y="11525"/>
                    </a:cubicBezTo>
                    <a:cubicBezTo>
                      <a:pt x="0" y="5163"/>
                      <a:pt x="5160" y="0"/>
                      <a:pt x="11517" y="0"/>
                    </a:cubicBezTo>
                    <a:lnTo>
                      <a:pt x="131062" y="0"/>
                    </a:lnTo>
                    <a:cubicBezTo>
                      <a:pt x="137419" y="0"/>
                      <a:pt x="142579" y="5163"/>
                      <a:pt x="142579" y="11525"/>
                    </a:cubicBezTo>
                    <a:cubicBezTo>
                      <a:pt x="142579" y="17887"/>
                      <a:pt x="137419" y="23051"/>
                      <a:pt x="131062" y="23051"/>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grpSp>
        <p:sp>
          <p:nvSpPr>
            <p:cNvPr id="26" name="Rectangle 25">
              <a:extLst>
                <a:ext uri="{FF2B5EF4-FFF2-40B4-BE49-F238E27FC236}">
                  <a16:creationId xmlns:a16="http://schemas.microsoft.com/office/drawing/2014/main" id="{EF113504-F28F-4FA4-85AE-1B16FFA63FEF}"/>
                </a:ext>
              </a:extLst>
            </p:cNvPr>
            <p:cNvSpPr/>
            <p:nvPr/>
          </p:nvSpPr>
          <p:spPr>
            <a:xfrm>
              <a:off x="4762151" y="4837757"/>
              <a:ext cx="3227709" cy="276999"/>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Offer Decisioning</a:t>
              </a:r>
              <a:endParaRPr kumimoji="0" lang="en-US" sz="1200" b="1" i="0" u="none" strike="noStrike" kern="1200" cap="none" spc="0" normalizeH="0" baseline="0" noProof="0" dirty="0">
                <a:ln>
                  <a:noFill/>
                </a:ln>
                <a:solidFill>
                  <a:srgbClr val="000000"/>
                </a:solidFill>
                <a:effectLst/>
                <a:uLnTx/>
                <a:uFillTx/>
                <a:ea typeface="+mn-ea"/>
                <a:cs typeface="Calibri"/>
              </a:endParaRPr>
            </a:p>
          </p:txBody>
        </p:sp>
        <p:sp>
          <p:nvSpPr>
            <p:cNvPr id="29" name="Rectangle 28">
              <a:extLst>
                <a:ext uri="{FF2B5EF4-FFF2-40B4-BE49-F238E27FC236}">
                  <a16:creationId xmlns:a16="http://schemas.microsoft.com/office/drawing/2014/main" id="{790A9046-36F0-4FFE-AD34-B61DEB01CF55}"/>
                </a:ext>
              </a:extLst>
            </p:cNvPr>
            <p:cNvSpPr/>
            <p:nvPr/>
          </p:nvSpPr>
          <p:spPr>
            <a:xfrm>
              <a:off x="4762151" y="5053836"/>
              <a:ext cx="2904616" cy="64633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Leverage real-time customer profile to optimize the right personalized offer to maximize revenue</a:t>
              </a:r>
            </a:p>
          </p:txBody>
        </p:sp>
        <p:grpSp>
          <p:nvGrpSpPr>
            <p:cNvPr id="30" name="Group 29">
              <a:extLst>
                <a:ext uri="{FF2B5EF4-FFF2-40B4-BE49-F238E27FC236}">
                  <a16:creationId xmlns:a16="http://schemas.microsoft.com/office/drawing/2014/main" id="{B5ECBF7B-F292-474E-BEBA-65CE45EF22BD}"/>
                </a:ext>
              </a:extLst>
            </p:cNvPr>
            <p:cNvGrpSpPr/>
            <p:nvPr/>
          </p:nvGrpSpPr>
          <p:grpSpPr>
            <a:xfrm>
              <a:off x="4241451" y="4844655"/>
              <a:ext cx="552808" cy="553212"/>
              <a:chOff x="4021157" y="5065317"/>
              <a:chExt cx="552808" cy="553212"/>
            </a:xfrm>
            <a:solidFill>
              <a:schemeClr val="accent2"/>
            </a:solidFill>
          </p:grpSpPr>
          <p:sp>
            <p:nvSpPr>
              <p:cNvPr id="62" name="Freeform 44">
                <a:extLst>
                  <a:ext uri="{FF2B5EF4-FFF2-40B4-BE49-F238E27FC236}">
                    <a16:creationId xmlns:a16="http://schemas.microsoft.com/office/drawing/2014/main" id="{A43AFB1A-2113-4F41-B284-7E018B90DE14}"/>
                  </a:ext>
                </a:extLst>
              </p:cNvPr>
              <p:cNvSpPr/>
              <p:nvPr/>
            </p:nvSpPr>
            <p:spPr>
              <a:xfrm>
                <a:off x="4021157" y="5065317"/>
                <a:ext cx="552808" cy="553212"/>
              </a:xfrm>
              <a:custGeom>
                <a:avLst/>
                <a:gdLst>
                  <a:gd name="connsiteX0" fmla="*/ 276404 w 552808"/>
                  <a:gd name="connsiteY0" fmla="*/ 553212 h 553212"/>
                  <a:gd name="connsiteX1" fmla="*/ 0 w 552808"/>
                  <a:gd name="connsiteY1" fmla="*/ 276606 h 553212"/>
                  <a:gd name="connsiteX2" fmla="*/ 276404 w 552808"/>
                  <a:gd name="connsiteY2" fmla="*/ 0 h 553212"/>
                  <a:gd name="connsiteX3" fmla="*/ 552809 w 552808"/>
                  <a:gd name="connsiteY3" fmla="*/ 276606 h 553212"/>
                  <a:gd name="connsiteX4" fmla="*/ 276404 w 552808"/>
                  <a:gd name="connsiteY4" fmla="*/ 553212 h 553212"/>
                  <a:gd name="connsiteX5" fmla="*/ 276404 w 552808"/>
                  <a:gd name="connsiteY5" fmla="*/ 23051 h 553212"/>
                  <a:gd name="connsiteX6" fmla="*/ 23034 w 552808"/>
                  <a:gd name="connsiteY6" fmla="*/ 276606 h 553212"/>
                  <a:gd name="connsiteX7" fmla="*/ 276404 w 552808"/>
                  <a:gd name="connsiteY7" fmla="*/ 530162 h 553212"/>
                  <a:gd name="connsiteX8" fmla="*/ 529775 w 552808"/>
                  <a:gd name="connsiteY8" fmla="*/ 276606 h 553212"/>
                  <a:gd name="connsiteX9" fmla="*/ 276404 w 552808"/>
                  <a:gd name="connsiteY9" fmla="*/ 23051 h 553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808" h="553212">
                    <a:moveTo>
                      <a:pt x="276404" y="553212"/>
                    </a:moveTo>
                    <a:cubicBezTo>
                      <a:pt x="123748" y="553212"/>
                      <a:pt x="0" y="429371"/>
                      <a:pt x="0" y="276606"/>
                    </a:cubicBezTo>
                    <a:cubicBezTo>
                      <a:pt x="0" y="123841"/>
                      <a:pt x="123748" y="0"/>
                      <a:pt x="276404" y="0"/>
                    </a:cubicBezTo>
                    <a:cubicBezTo>
                      <a:pt x="429060" y="0"/>
                      <a:pt x="552809" y="123841"/>
                      <a:pt x="552809" y="276606"/>
                    </a:cubicBezTo>
                    <a:cubicBezTo>
                      <a:pt x="552809" y="429371"/>
                      <a:pt x="429060" y="553212"/>
                      <a:pt x="276404" y="553212"/>
                    </a:cubicBezTo>
                    <a:close/>
                    <a:moveTo>
                      <a:pt x="276404" y="23051"/>
                    </a:moveTo>
                    <a:cubicBezTo>
                      <a:pt x="136474" y="23051"/>
                      <a:pt x="23034" y="136571"/>
                      <a:pt x="23034" y="276606"/>
                    </a:cubicBezTo>
                    <a:cubicBezTo>
                      <a:pt x="23034" y="416641"/>
                      <a:pt x="136474" y="530162"/>
                      <a:pt x="276404" y="530162"/>
                    </a:cubicBezTo>
                    <a:cubicBezTo>
                      <a:pt x="416334" y="530162"/>
                      <a:pt x="529775" y="416641"/>
                      <a:pt x="529775" y="276606"/>
                    </a:cubicBezTo>
                    <a:cubicBezTo>
                      <a:pt x="529775" y="136571"/>
                      <a:pt x="416334" y="23051"/>
                      <a:pt x="276404" y="23051"/>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63" name="Freeform 91">
                <a:extLst>
                  <a:ext uri="{FF2B5EF4-FFF2-40B4-BE49-F238E27FC236}">
                    <a16:creationId xmlns:a16="http://schemas.microsoft.com/office/drawing/2014/main" id="{B3CF2A78-FDFA-450B-AA62-0DEA159DE54E}"/>
                  </a:ext>
                </a:extLst>
              </p:cNvPr>
              <p:cNvSpPr/>
              <p:nvPr/>
            </p:nvSpPr>
            <p:spPr>
              <a:xfrm>
                <a:off x="4123628" y="5330397"/>
                <a:ext cx="103652" cy="69152"/>
              </a:xfrm>
              <a:custGeom>
                <a:avLst/>
                <a:gdLst>
                  <a:gd name="connsiteX0" fmla="*/ 72700 w 103651"/>
                  <a:gd name="connsiteY0" fmla="*/ 70535 h 69151"/>
                  <a:gd name="connsiteX1" fmla="*/ 72700 w 103651"/>
                  <a:gd name="connsiteY1" fmla="*/ 70535 h 69151"/>
                  <a:gd name="connsiteX2" fmla="*/ 17304 w 103651"/>
                  <a:gd name="connsiteY2" fmla="*/ 70535 h 69151"/>
                  <a:gd name="connsiteX3" fmla="*/ 3137 w 103651"/>
                  <a:gd name="connsiteY3" fmla="*/ 63505 h 69151"/>
                  <a:gd name="connsiteX4" fmla="*/ 1065 w 103651"/>
                  <a:gd name="connsiteY4" fmla="*/ 47485 h 69151"/>
                  <a:gd name="connsiteX5" fmla="*/ 11775 w 103651"/>
                  <a:gd name="connsiteY5" fmla="*/ 15906 h 69151"/>
                  <a:gd name="connsiteX6" fmla="*/ 33312 w 103651"/>
                  <a:gd name="connsiteY6" fmla="*/ 1 h 69151"/>
                  <a:gd name="connsiteX7" fmla="*/ 33312 w 103651"/>
                  <a:gd name="connsiteY7" fmla="*/ 1 h 69151"/>
                  <a:gd name="connsiteX8" fmla="*/ 88708 w 103651"/>
                  <a:gd name="connsiteY8" fmla="*/ 1 h 69151"/>
                  <a:gd name="connsiteX9" fmla="*/ 105914 w 103651"/>
                  <a:gd name="connsiteY9" fmla="*/ 16891 h 69151"/>
                  <a:gd name="connsiteX10" fmla="*/ 104831 w 103651"/>
                  <a:gd name="connsiteY10" fmla="*/ 23051 h 69151"/>
                  <a:gd name="connsiteX11" fmla="*/ 94121 w 103651"/>
                  <a:gd name="connsiteY11" fmla="*/ 54515 h 69151"/>
                  <a:gd name="connsiteX12" fmla="*/ 72700 w 103651"/>
                  <a:gd name="connsiteY12" fmla="*/ 70535 h 69151"/>
                  <a:gd name="connsiteX13" fmla="*/ 25365 w 103651"/>
                  <a:gd name="connsiteY13" fmla="*/ 47485 h 69151"/>
                  <a:gd name="connsiteX14" fmla="*/ 72700 w 103651"/>
                  <a:gd name="connsiteY14" fmla="*/ 47485 h 69151"/>
                  <a:gd name="connsiteX15" fmla="*/ 80761 w 103651"/>
                  <a:gd name="connsiteY15" fmla="*/ 23282 h 69151"/>
                  <a:gd name="connsiteX16" fmla="*/ 33888 w 103651"/>
                  <a:gd name="connsiteY16" fmla="*/ 23282 h 69151"/>
                  <a:gd name="connsiteX17" fmla="*/ 83295 w 103651"/>
                  <a:gd name="connsiteY17" fmla="*/ 16136 h 69151"/>
                  <a:gd name="connsiteX18" fmla="*/ 83295 w 103651"/>
                  <a:gd name="connsiteY18" fmla="*/ 16136 h 6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651" h="69151">
                    <a:moveTo>
                      <a:pt x="72700" y="70535"/>
                    </a:moveTo>
                    <a:lnTo>
                      <a:pt x="72700" y="70535"/>
                    </a:lnTo>
                    <a:lnTo>
                      <a:pt x="17304" y="70535"/>
                    </a:lnTo>
                    <a:cubicBezTo>
                      <a:pt x="11717" y="70638"/>
                      <a:pt x="6431" y="68016"/>
                      <a:pt x="3137" y="63505"/>
                    </a:cubicBezTo>
                    <a:cubicBezTo>
                      <a:pt x="-121" y="58821"/>
                      <a:pt x="-893" y="52844"/>
                      <a:pt x="1065" y="47485"/>
                    </a:cubicBezTo>
                    <a:lnTo>
                      <a:pt x="11775" y="15906"/>
                    </a:lnTo>
                    <a:cubicBezTo>
                      <a:pt x="15046" y="6711"/>
                      <a:pt x="23568" y="420"/>
                      <a:pt x="33312" y="1"/>
                    </a:cubicBezTo>
                    <a:lnTo>
                      <a:pt x="33312" y="1"/>
                    </a:lnTo>
                    <a:lnTo>
                      <a:pt x="88708" y="1"/>
                    </a:lnTo>
                    <a:cubicBezTo>
                      <a:pt x="98117" y="-90"/>
                      <a:pt x="105822" y="7471"/>
                      <a:pt x="105914" y="16891"/>
                    </a:cubicBezTo>
                    <a:cubicBezTo>
                      <a:pt x="105937" y="18994"/>
                      <a:pt x="105569" y="21083"/>
                      <a:pt x="104831" y="23051"/>
                    </a:cubicBezTo>
                    <a:lnTo>
                      <a:pt x="94121" y="54515"/>
                    </a:lnTo>
                    <a:cubicBezTo>
                      <a:pt x="90931" y="63738"/>
                      <a:pt x="82443" y="70084"/>
                      <a:pt x="72700" y="70535"/>
                    </a:cubicBezTo>
                    <a:close/>
                    <a:moveTo>
                      <a:pt x="25365" y="47485"/>
                    </a:moveTo>
                    <a:lnTo>
                      <a:pt x="72700" y="47485"/>
                    </a:lnTo>
                    <a:lnTo>
                      <a:pt x="80761" y="23282"/>
                    </a:lnTo>
                    <a:lnTo>
                      <a:pt x="33888" y="23282"/>
                    </a:lnTo>
                    <a:close/>
                    <a:moveTo>
                      <a:pt x="83295" y="16136"/>
                    </a:moveTo>
                    <a:lnTo>
                      <a:pt x="83295" y="16136"/>
                    </a:ln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64" name="Freeform 92">
                <a:extLst>
                  <a:ext uri="{FF2B5EF4-FFF2-40B4-BE49-F238E27FC236}">
                    <a16:creationId xmlns:a16="http://schemas.microsoft.com/office/drawing/2014/main" id="{B713ADE9-D267-4488-8643-B45A9DC47EA9}"/>
                  </a:ext>
                </a:extLst>
              </p:cNvPr>
              <p:cNvSpPr/>
              <p:nvPr/>
            </p:nvSpPr>
            <p:spPr>
              <a:xfrm>
                <a:off x="4114213" y="5283144"/>
                <a:ext cx="115168" cy="69152"/>
              </a:xfrm>
              <a:custGeom>
                <a:avLst/>
                <a:gdLst>
                  <a:gd name="connsiteX0" fmla="*/ 42727 w 115168"/>
                  <a:gd name="connsiteY0" fmla="*/ 70304 h 69151"/>
                  <a:gd name="connsiteX1" fmla="*/ 21075 w 115168"/>
                  <a:gd name="connsiteY1" fmla="*/ 54745 h 69151"/>
                  <a:gd name="connsiteX2" fmla="*/ 17851 w 115168"/>
                  <a:gd name="connsiteY2" fmla="*/ 45179 h 69151"/>
                  <a:gd name="connsiteX3" fmla="*/ 25533 w 115168"/>
                  <a:gd name="connsiteY3" fmla="*/ 30805 h 69151"/>
                  <a:gd name="connsiteX4" fmla="*/ 39618 w 115168"/>
                  <a:gd name="connsiteY4" fmla="*/ 37688 h 69151"/>
                  <a:gd name="connsiteX5" fmla="*/ 42958 w 115168"/>
                  <a:gd name="connsiteY5" fmla="*/ 47254 h 69151"/>
                  <a:gd name="connsiteX6" fmla="*/ 90176 w 115168"/>
                  <a:gd name="connsiteY6" fmla="*/ 47254 h 69151"/>
                  <a:gd name="connsiteX7" fmla="*/ 81885 w 115168"/>
                  <a:gd name="connsiteY7" fmla="*/ 23051 h 69151"/>
                  <a:gd name="connsiteX8" fmla="*/ 11517 w 115168"/>
                  <a:gd name="connsiteY8" fmla="*/ 23051 h 69151"/>
                  <a:gd name="connsiteX9" fmla="*/ 11517 w 115168"/>
                  <a:gd name="connsiteY9" fmla="*/ 23051 h 69151"/>
                  <a:gd name="connsiteX10" fmla="*/ 0 w 115168"/>
                  <a:gd name="connsiteY10" fmla="*/ 11525 h 69151"/>
                  <a:gd name="connsiteX11" fmla="*/ 11517 w 115168"/>
                  <a:gd name="connsiteY11" fmla="*/ 0 h 69151"/>
                  <a:gd name="connsiteX12" fmla="*/ 82115 w 115168"/>
                  <a:gd name="connsiteY12" fmla="*/ 0 h 69151"/>
                  <a:gd name="connsiteX13" fmla="*/ 82115 w 115168"/>
                  <a:gd name="connsiteY13" fmla="*/ 0 h 69151"/>
                  <a:gd name="connsiteX14" fmla="*/ 103767 w 115168"/>
                  <a:gd name="connsiteY14" fmla="*/ 15674 h 69151"/>
                  <a:gd name="connsiteX15" fmla="*/ 114247 w 115168"/>
                  <a:gd name="connsiteY15" fmla="*/ 47254 h 69151"/>
                  <a:gd name="connsiteX16" fmla="*/ 104285 w 115168"/>
                  <a:gd name="connsiteY16" fmla="*/ 69218 h 69151"/>
                  <a:gd name="connsiteX17" fmla="*/ 98008 w 115168"/>
                  <a:gd name="connsiteY17" fmla="*/ 70304 h 69151"/>
                  <a:gd name="connsiteX18" fmla="*/ 42612 w 115168"/>
                  <a:gd name="connsiteY18" fmla="*/ 70304 h 6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5168" h="69151">
                    <a:moveTo>
                      <a:pt x="42727" y="70304"/>
                    </a:moveTo>
                    <a:cubicBezTo>
                      <a:pt x="33030" y="69986"/>
                      <a:pt x="24473" y="63842"/>
                      <a:pt x="21075" y="54745"/>
                    </a:cubicBezTo>
                    <a:lnTo>
                      <a:pt x="17851" y="45179"/>
                    </a:lnTo>
                    <a:cubicBezTo>
                      <a:pt x="16008" y="39088"/>
                      <a:pt x="19440" y="32652"/>
                      <a:pt x="25533" y="30805"/>
                    </a:cubicBezTo>
                    <a:cubicBezTo>
                      <a:pt x="31302" y="29053"/>
                      <a:pt x="37452" y="32055"/>
                      <a:pt x="39618" y="37688"/>
                    </a:cubicBezTo>
                    <a:lnTo>
                      <a:pt x="42958" y="47254"/>
                    </a:lnTo>
                    <a:lnTo>
                      <a:pt x="90176" y="47254"/>
                    </a:lnTo>
                    <a:lnTo>
                      <a:pt x="81885" y="23051"/>
                    </a:lnTo>
                    <a:lnTo>
                      <a:pt x="11517" y="23051"/>
                    </a:lnTo>
                    <a:lnTo>
                      <a:pt x="11517" y="23051"/>
                    </a:lnTo>
                    <a:cubicBezTo>
                      <a:pt x="5160" y="23051"/>
                      <a:pt x="0" y="17891"/>
                      <a:pt x="0" y="11525"/>
                    </a:cubicBezTo>
                    <a:cubicBezTo>
                      <a:pt x="0" y="5160"/>
                      <a:pt x="5160" y="0"/>
                      <a:pt x="11517" y="0"/>
                    </a:cubicBezTo>
                    <a:lnTo>
                      <a:pt x="82115" y="0"/>
                    </a:lnTo>
                    <a:lnTo>
                      <a:pt x="82115" y="0"/>
                    </a:lnTo>
                    <a:cubicBezTo>
                      <a:pt x="91858" y="305"/>
                      <a:pt x="100427" y="6512"/>
                      <a:pt x="103767" y="15674"/>
                    </a:cubicBezTo>
                    <a:lnTo>
                      <a:pt x="114247" y="47254"/>
                    </a:lnTo>
                    <a:cubicBezTo>
                      <a:pt x="117552" y="56073"/>
                      <a:pt x="113095" y="65907"/>
                      <a:pt x="104285" y="69218"/>
                    </a:cubicBezTo>
                    <a:cubicBezTo>
                      <a:pt x="102281" y="69971"/>
                      <a:pt x="100150" y="70340"/>
                      <a:pt x="98008" y="70304"/>
                    </a:cubicBezTo>
                    <a:lnTo>
                      <a:pt x="42612" y="70304"/>
                    </a:ln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65" name="Freeform 93">
                <a:extLst>
                  <a:ext uri="{FF2B5EF4-FFF2-40B4-BE49-F238E27FC236}">
                    <a16:creationId xmlns:a16="http://schemas.microsoft.com/office/drawing/2014/main" id="{53E0A9A5-049B-437C-B7F6-190999475D9C}"/>
                  </a:ext>
                </a:extLst>
              </p:cNvPr>
              <p:cNvSpPr/>
              <p:nvPr/>
            </p:nvSpPr>
            <p:spPr>
              <a:xfrm>
                <a:off x="4099241" y="5330513"/>
                <a:ext cx="357022" cy="57626"/>
              </a:xfrm>
              <a:custGeom>
                <a:avLst/>
                <a:gdLst>
                  <a:gd name="connsiteX0" fmla="*/ 343432 w 357022"/>
                  <a:gd name="connsiteY0" fmla="*/ 63619 h 57626"/>
                  <a:gd name="connsiteX1" fmla="*/ 341934 w 357022"/>
                  <a:gd name="connsiteY1" fmla="*/ 63619 h 57626"/>
                  <a:gd name="connsiteX2" fmla="*/ 332030 w 357022"/>
                  <a:gd name="connsiteY2" fmla="*/ 50711 h 57626"/>
                  <a:gd name="connsiteX3" fmla="*/ 335485 w 357022"/>
                  <a:gd name="connsiteY3" fmla="*/ 23051 h 57626"/>
                  <a:gd name="connsiteX4" fmla="*/ 11517 w 357022"/>
                  <a:gd name="connsiteY4" fmla="*/ 23051 h 57626"/>
                  <a:gd name="connsiteX5" fmla="*/ 0 w 357022"/>
                  <a:gd name="connsiteY5" fmla="*/ 11525 h 57626"/>
                  <a:gd name="connsiteX6" fmla="*/ 11517 w 357022"/>
                  <a:gd name="connsiteY6" fmla="*/ 0 h 57626"/>
                  <a:gd name="connsiteX7" fmla="*/ 348039 w 357022"/>
                  <a:gd name="connsiteY7" fmla="*/ 0 h 57626"/>
                  <a:gd name="connsiteX8" fmla="*/ 356676 w 357022"/>
                  <a:gd name="connsiteY8" fmla="*/ 3919 h 57626"/>
                  <a:gd name="connsiteX9" fmla="*/ 359440 w 357022"/>
                  <a:gd name="connsiteY9" fmla="*/ 12908 h 57626"/>
                  <a:gd name="connsiteX10" fmla="*/ 354373 w 357022"/>
                  <a:gd name="connsiteY10" fmla="*/ 53592 h 57626"/>
                  <a:gd name="connsiteX11" fmla="*/ 343432 w 357022"/>
                  <a:gd name="connsiteY11" fmla="*/ 63619 h 5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7022" h="57626">
                    <a:moveTo>
                      <a:pt x="343432" y="63619"/>
                    </a:moveTo>
                    <a:lnTo>
                      <a:pt x="341934" y="63619"/>
                    </a:lnTo>
                    <a:cubicBezTo>
                      <a:pt x="335647" y="62783"/>
                      <a:pt x="331213" y="57010"/>
                      <a:pt x="332030" y="50711"/>
                    </a:cubicBezTo>
                    <a:lnTo>
                      <a:pt x="335485" y="23051"/>
                    </a:lnTo>
                    <a:lnTo>
                      <a:pt x="11517" y="23051"/>
                    </a:lnTo>
                    <a:cubicBezTo>
                      <a:pt x="5160" y="23051"/>
                      <a:pt x="0" y="17891"/>
                      <a:pt x="0" y="11525"/>
                    </a:cubicBezTo>
                    <a:cubicBezTo>
                      <a:pt x="0" y="5160"/>
                      <a:pt x="5160" y="0"/>
                      <a:pt x="11517" y="0"/>
                    </a:cubicBezTo>
                    <a:lnTo>
                      <a:pt x="348039" y="0"/>
                    </a:lnTo>
                    <a:cubicBezTo>
                      <a:pt x="351344" y="5"/>
                      <a:pt x="354488" y="1431"/>
                      <a:pt x="356676" y="3919"/>
                    </a:cubicBezTo>
                    <a:cubicBezTo>
                      <a:pt x="358830" y="6385"/>
                      <a:pt x="359844" y="9655"/>
                      <a:pt x="359440" y="12908"/>
                    </a:cubicBezTo>
                    <a:lnTo>
                      <a:pt x="354373" y="53592"/>
                    </a:lnTo>
                    <a:cubicBezTo>
                      <a:pt x="353647" y="59153"/>
                      <a:pt x="349029" y="63385"/>
                      <a:pt x="343432" y="63619"/>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66" name="Freeform 94">
                <a:extLst>
                  <a:ext uri="{FF2B5EF4-FFF2-40B4-BE49-F238E27FC236}">
                    <a16:creationId xmlns:a16="http://schemas.microsoft.com/office/drawing/2014/main" id="{9624298C-66B7-404C-8F54-CA69B60BA5FC}"/>
                  </a:ext>
                </a:extLst>
              </p:cNvPr>
              <p:cNvSpPr/>
              <p:nvPr/>
            </p:nvSpPr>
            <p:spPr>
              <a:xfrm>
                <a:off x="4282864" y="5173472"/>
                <a:ext cx="103652" cy="334232"/>
              </a:xfrm>
              <a:custGeom>
                <a:avLst/>
                <a:gdLst>
                  <a:gd name="connsiteX0" fmla="*/ 11817 w 103651"/>
                  <a:gd name="connsiteY0" fmla="*/ 336951 h 334232"/>
                  <a:gd name="connsiteX1" fmla="*/ 301 w 103651"/>
                  <a:gd name="connsiteY1" fmla="*/ 327961 h 334232"/>
                  <a:gd name="connsiteX2" fmla="*/ 8927 w 103651"/>
                  <a:gd name="connsiteY2" fmla="*/ 314134 h 334232"/>
                  <a:gd name="connsiteX3" fmla="*/ 8938 w 103651"/>
                  <a:gd name="connsiteY3" fmla="*/ 314131 h 334232"/>
                  <a:gd name="connsiteX4" fmla="*/ 85755 w 103651"/>
                  <a:gd name="connsiteY4" fmla="*/ 168451 h 334232"/>
                  <a:gd name="connsiteX5" fmla="*/ 8938 w 103651"/>
                  <a:gd name="connsiteY5" fmla="*/ 22772 h 334232"/>
                  <a:gd name="connsiteX6" fmla="*/ 301 w 103651"/>
                  <a:gd name="connsiteY6" fmla="*/ 8942 h 334232"/>
                  <a:gd name="connsiteX7" fmla="*/ 14121 w 103651"/>
                  <a:gd name="connsiteY7" fmla="*/ 298 h 334232"/>
                  <a:gd name="connsiteX8" fmla="*/ 108789 w 103651"/>
                  <a:gd name="connsiteY8" fmla="*/ 168451 h 334232"/>
                  <a:gd name="connsiteX9" fmla="*/ 14697 w 103651"/>
                  <a:gd name="connsiteY9" fmla="*/ 336605 h 334232"/>
                  <a:gd name="connsiteX10" fmla="*/ 11817 w 103651"/>
                  <a:gd name="connsiteY10" fmla="*/ 336951 h 334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3651" h="334232">
                    <a:moveTo>
                      <a:pt x="11817" y="336951"/>
                    </a:moveTo>
                    <a:cubicBezTo>
                      <a:pt x="6324" y="337084"/>
                      <a:pt x="1510" y="333322"/>
                      <a:pt x="301" y="327961"/>
                    </a:cubicBezTo>
                    <a:cubicBezTo>
                      <a:pt x="-1139" y="321759"/>
                      <a:pt x="2731" y="315569"/>
                      <a:pt x="8927" y="314134"/>
                    </a:cubicBezTo>
                    <a:cubicBezTo>
                      <a:pt x="8927" y="314133"/>
                      <a:pt x="8938" y="314132"/>
                      <a:pt x="8938" y="314131"/>
                    </a:cubicBezTo>
                    <a:cubicBezTo>
                      <a:pt x="52702" y="304104"/>
                      <a:pt x="85755" y="241406"/>
                      <a:pt x="85755" y="168451"/>
                    </a:cubicBezTo>
                    <a:cubicBezTo>
                      <a:pt x="85755" y="95497"/>
                      <a:pt x="52702" y="32799"/>
                      <a:pt x="8938" y="22772"/>
                    </a:cubicBezTo>
                    <a:cubicBezTo>
                      <a:pt x="2742" y="21340"/>
                      <a:pt x="-1128" y="15148"/>
                      <a:pt x="301" y="8942"/>
                    </a:cubicBezTo>
                    <a:cubicBezTo>
                      <a:pt x="1729" y="2736"/>
                      <a:pt x="7913" y="-1135"/>
                      <a:pt x="14121" y="298"/>
                    </a:cubicBezTo>
                    <a:cubicBezTo>
                      <a:pt x="68941" y="12976"/>
                      <a:pt x="108789" y="83741"/>
                      <a:pt x="108789" y="168451"/>
                    </a:cubicBezTo>
                    <a:cubicBezTo>
                      <a:pt x="108789" y="253162"/>
                      <a:pt x="69286" y="323927"/>
                      <a:pt x="14697" y="336605"/>
                    </a:cubicBezTo>
                    <a:cubicBezTo>
                      <a:pt x="13753" y="336853"/>
                      <a:pt x="12785" y="336969"/>
                      <a:pt x="11817" y="336951"/>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67" name="Freeform 95">
                <a:extLst>
                  <a:ext uri="{FF2B5EF4-FFF2-40B4-BE49-F238E27FC236}">
                    <a16:creationId xmlns:a16="http://schemas.microsoft.com/office/drawing/2014/main" id="{F0221852-124F-4A12-B4FA-3BC590B4340C}"/>
                  </a:ext>
                </a:extLst>
              </p:cNvPr>
              <p:cNvSpPr/>
              <p:nvPr/>
            </p:nvSpPr>
            <p:spPr>
              <a:xfrm>
                <a:off x="4207275" y="5331209"/>
                <a:ext cx="115168" cy="161354"/>
              </a:xfrm>
              <a:custGeom>
                <a:avLst/>
                <a:gdLst>
                  <a:gd name="connsiteX0" fmla="*/ 114586 w 115168"/>
                  <a:gd name="connsiteY0" fmla="*/ 166420 h 161353"/>
                  <a:gd name="connsiteX1" fmla="*/ 105258 w 115168"/>
                  <a:gd name="connsiteY1" fmla="*/ 161695 h 161353"/>
                  <a:gd name="connsiteX2" fmla="*/ 1606 w 115168"/>
                  <a:gd name="connsiteY2" fmla="*/ 17399 h 161353"/>
                  <a:gd name="connsiteX3" fmla="*/ 5649 w 115168"/>
                  <a:gd name="connsiteY3" fmla="*/ 1609 h 161353"/>
                  <a:gd name="connsiteX4" fmla="*/ 20263 w 115168"/>
                  <a:gd name="connsiteY4" fmla="*/ 4029 h 161353"/>
                  <a:gd name="connsiteX5" fmla="*/ 123915 w 115168"/>
                  <a:gd name="connsiteY5" fmla="*/ 148210 h 161353"/>
                  <a:gd name="connsiteX6" fmla="*/ 121416 w 115168"/>
                  <a:gd name="connsiteY6" fmla="*/ 164317 h 161353"/>
                  <a:gd name="connsiteX7" fmla="*/ 121381 w 115168"/>
                  <a:gd name="connsiteY7" fmla="*/ 164346 h 161353"/>
                  <a:gd name="connsiteX8" fmla="*/ 114586 w 115168"/>
                  <a:gd name="connsiteY8" fmla="*/ 166420 h 16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168" h="161353">
                    <a:moveTo>
                      <a:pt x="114586" y="166420"/>
                    </a:moveTo>
                    <a:cubicBezTo>
                      <a:pt x="110901" y="166429"/>
                      <a:pt x="107435" y="164673"/>
                      <a:pt x="105258" y="161695"/>
                    </a:cubicBezTo>
                    <a:lnTo>
                      <a:pt x="1606" y="17399"/>
                    </a:lnTo>
                    <a:cubicBezTo>
                      <a:pt x="-1630" y="11922"/>
                      <a:pt x="178" y="4852"/>
                      <a:pt x="5649" y="1609"/>
                    </a:cubicBezTo>
                    <a:cubicBezTo>
                      <a:pt x="10462" y="-1243"/>
                      <a:pt x="16624" y="-222"/>
                      <a:pt x="20263" y="4029"/>
                    </a:cubicBezTo>
                    <a:lnTo>
                      <a:pt x="123915" y="148210"/>
                    </a:lnTo>
                    <a:cubicBezTo>
                      <a:pt x="127669" y="153347"/>
                      <a:pt x="126552" y="160558"/>
                      <a:pt x="121416" y="164317"/>
                    </a:cubicBezTo>
                    <a:cubicBezTo>
                      <a:pt x="121405" y="164327"/>
                      <a:pt x="121393" y="164336"/>
                      <a:pt x="121381" y="164346"/>
                    </a:cubicBezTo>
                    <a:cubicBezTo>
                      <a:pt x="119389" y="165737"/>
                      <a:pt x="117016" y="166463"/>
                      <a:pt x="114586" y="166420"/>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68" name="Freeform 96">
                <a:extLst>
                  <a:ext uri="{FF2B5EF4-FFF2-40B4-BE49-F238E27FC236}">
                    <a16:creationId xmlns:a16="http://schemas.microsoft.com/office/drawing/2014/main" id="{74D259FC-0DFB-4817-A1A7-FB4E5B231F21}"/>
                  </a:ext>
                </a:extLst>
              </p:cNvPr>
              <p:cNvSpPr/>
              <p:nvPr/>
            </p:nvSpPr>
            <p:spPr>
              <a:xfrm>
                <a:off x="4207275" y="5331209"/>
                <a:ext cx="115168" cy="161354"/>
              </a:xfrm>
              <a:custGeom>
                <a:avLst/>
                <a:gdLst>
                  <a:gd name="connsiteX0" fmla="*/ 114586 w 115168"/>
                  <a:gd name="connsiteY0" fmla="*/ 166420 h 161353"/>
                  <a:gd name="connsiteX1" fmla="*/ 105258 w 115168"/>
                  <a:gd name="connsiteY1" fmla="*/ 161695 h 161353"/>
                  <a:gd name="connsiteX2" fmla="*/ 1606 w 115168"/>
                  <a:gd name="connsiteY2" fmla="*/ 17399 h 161353"/>
                  <a:gd name="connsiteX3" fmla="*/ 5649 w 115168"/>
                  <a:gd name="connsiteY3" fmla="*/ 1609 h 161353"/>
                  <a:gd name="connsiteX4" fmla="*/ 20263 w 115168"/>
                  <a:gd name="connsiteY4" fmla="*/ 4029 h 161353"/>
                  <a:gd name="connsiteX5" fmla="*/ 123915 w 115168"/>
                  <a:gd name="connsiteY5" fmla="*/ 148210 h 161353"/>
                  <a:gd name="connsiteX6" fmla="*/ 121416 w 115168"/>
                  <a:gd name="connsiteY6" fmla="*/ 164317 h 161353"/>
                  <a:gd name="connsiteX7" fmla="*/ 121381 w 115168"/>
                  <a:gd name="connsiteY7" fmla="*/ 164346 h 161353"/>
                  <a:gd name="connsiteX8" fmla="*/ 114586 w 115168"/>
                  <a:gd name="connsiteY8" fmla="*/ 166420 h 16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168" h="161353">
                    <a:moveTo>
                      <a:pt x="114586" y="166420"/>
                    </a:moveTo>
                    <a:cubicBezTo>
                      <a:pt x="110901" y="166429"/>
                      <a:pt x="107435" y="164673"/>
                      <a:pt x="105258" y="161695"/>
                    </a:cubicBezTo>
                    <a:lnTo>
                      <a:pt x="1606" y="17399"/>
                    </a:lnTo>
                    <a:cubicBezTo>
                      <a:pt x="-1630" y="11922"/>
                      <a:pt x="178" y="4852"/>
                      <a:pt x="5649" y="1609"/>
                    </a:cubicBezTo>
                    <a:cubicBezTo>
                      <a:pt x="10462" y="-1243"/>
                      <a:pt x="16624" y="-222"/>
                      <a:pt x="20263" y="4029"/>
                    </a:cubicBezTo>
                    <a:lnTo>
                      <a:pt x="123915" y="148210"/>
                    </a:lnTo>
                    <a:cubicBezTo>
                      <a:pt x="127669" y="153347"/>
                      <a:pt x="126552" y="160558"/>
                      <a:pt x="121416" y="164317"/>
                    </a:cubicBezTo>
                    <a:cubicBezTo>
                      <a:pt x="121405" y="164327"/>
                      <a:pt x="121393" y="164336"/>
                      <a:pt x="121381" y="164346"/>
                    </a:cubicBezTo>
                    <a:cubicBezTo>
                      <a:pt x="119389" y="165737"/>
                      <a:pt x="117016" y="166463"/>
                      <a:pt x="114586" y="166420"/>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69" name="Freeform 97">
                <a:extLst>
                  <a:ext uri="{FF2B5EF4-FFF2-40B4-BE49-F238E27FC236}">
                    <a16:creationId xmlns:a16="http://schemas.microsoft.com/office/drawing/2014/main" id="{AFD9F63A-2B1B-454B-B4F2-91E10B78B181}"/>
                  </a:ext>
                </a:extLst>
              </p:cNvPr>
              <p:cNvSpPr/>
              <p:nvPr/>
            </p:nvSpPr>
            <p:spPr>
              <a:xfrm>
                <a:off x="4206755" y="5185776"/>
                <a:ext cx="126685" cy="161354"/>
              </a:xfrm>
              <a:custGeom>
                <a:avLst/>
                <a:gdLst>
                  <a:gd name="connsiteX0" fmla="*/ 11455 w 126685"/>
                  <a:gd name="connsiteY0" fmla="*/ 167673 h 161353"/>
                  <a:gd name="connsiteX1" fmla="*/ 4776 w 126685"/>
                  <a:gd name="connsiteY1" fmla="*/ 165483 h 161353"/>
                  <a:gd name="connsiteX2" fmla="*/ 2126 w 126685"/>
                  <a:gd name="connsiteY2" fmla="*/ 149463 h 161353"/>
                  <a:gd name="connsiteX3" fmla="*/ 105778 w 126685"/>
                  <a:gd name="connsiteY3" fmla="*/ 5167 h 161353"/>
                  <a:gd name="connsiteX4" fmla="*/ 121740 w 126685"/>
                  <a:gd name="connsiteY4" fmla="*/ 1915 h 161353"/>
                  <a:gd name="connsiteX5" fmla="*/ 124988 w 126685"/>
                  <a:gd name="connsiteY5" fmla="*/ 17886 h 161353"/>
                  <a:gd name="connsiteX6" fmla="*/ 124435 w 126685"/>
                  <a:gd name="connsiteY6" fmla="*/ 18651 h 161353"/>
                  <a:gd name="connsiteX7" fmla="*/ 20784 w 126685"/>
                  <a:gd name="connsiteY7" fmla="*/ 162832 h 161353"/>
                  <a:gd name="connsiteX8" fmla="*/ 11455 w 126685"/>
                  <a:gd name="connsiteY8" fmla="*/ 167673 h 16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685" h="161353">
                    <a:moveTo>
                      <a:pt x="11455" y="167673"/>
                    </a:moveTo>
                    <a:cubicBezTo>
                      <a:pt x="9059" y="167658"/>
                      <a:pt x="6721" y="166891"/>
                      <a:pt x="4776" y="165483"/>
                    </a:cubicBezTo>
                    <a:cubicBezTo>
                      <a:pt x="-349" y="161777"/>
                      <a:pt x="-1536" y="154625"/>
                      <a:pt x="2126" y="149463"/>
                    </a:cubicBezTo>
                    <a:lnTo>
                      <a:pt x="105778" y="5167"/>
                    </a:lnTo>
                    <a:cubicBezTo>
                      <a:pt x="109291" y="-142"/>
                      <a:pt x="116431" y="-1598"/>
                      <a:pt x="121740" y="1915"/>
                    </a:cubicBezTo>
                    <a:cubicBezTo>
                      <a:pt x="127038" y="5427"/>
                      <a:pt x="128501" y="12578"/>
                      <a:pt x="124988" y="17886"/>
                    </a:cubicBezTo>
                    <a:cubicBezTo>
                      <a:pt x="124816" y="18149"/>
                      <a:pt x="124631" y="18403"/>
                      <a:pt x="124435" y="18651"/>
                    </a:cubicBezTo>
                    <a:lnTo>
                      <a:pt x="20784" y="162832"/>
                    </a:lnTo>
                    <a:cubicBezTo>
                      <a:pt x="18630" y="165854"/>
                      <a:pt x="15164" y="167655"/>
                      <a:pt x="11455" y="167673"/>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70" name="Freeform 98">
                <a:extLst>
                  <a:ext uri="{FF2B5EF4-FFF2-40B4-BE49-F238E27FC236}">
                    <a16:creationId xmlns:a16="http://schemas.microsoft.com/office/drawing/2014/main" id="{F5013921-355B-43BC-ACD8-36A2983FC197}"/>
                  </a:ext>
                </a:extLst>
              </p:cNvPr>
              <p:cNvSpPr/>
              <p:nvPr/>
            </p:nvSpPr>
            <p:spPr>
              <a:xfrm>
                <a:off x="4431157" y="5289713"/>
                <a:ext cx="69101" cy="103727"/>
              </a:xfrm>
              <a:custGeom>
                <a:avLst/>
                <a:gdLst>
                  <a:gd name="connsiteX0" fmla="*/ 11516 w 69101"/>
                  <a:gd name="connsiteY0" fmla="*/ 104420 h 103727"/>
                  <a:gd name="connsiteX1" fmla="*/ 2303 w 69101"/>
                  <a:gd name="connsiteY1" fmla="*/ 99694 h 103727"/>
                  <a:gd name="connsiteX2" fmla="*/ 4606 w 69101"/>
                  <a:gd name="connsiteY2" fmla="*/ 83674 h 103727"/>
                  <a:gd name="connsiteX3" fmla="*/ 46528 w 69101"/>
                  <a:gd name="connsiteY3" fmla="*/ 52210 h 103727"/>
                  <a:gd name="connsiteX4" fmla="*/ 4606 w 69101"/>
                  <a:gd name="connsiteY4" fmla="*/ 20746 h 103727"/>
                  <a:gd name="connsiteX5" fmla="*/ 2303 w 69101"/>
                  <a:gd name="connsiteY5" fmla="*/ 4611 h 103727"/>
                  <a:gd name="connsiteX6" fmla="*/ 18427 w 69101"/>
                  <a:gd name="connsiteY6" fmla="*/ 2306 h 103727"/>
                  <a:gd name="connsiteX7" fmla="*/ 72671 w 69101"/>
                  <a:gd name="connsiteY7" fmla="*/ 42990 h 103727"/>
                  <a:gd name="connsiteX8" fmla="*/ 74974 w 69101"/>
                  <a:gd name="connsiteY8" fmla="*/ 59125 h 103727"/>
                  <a:gd name="connsiteX9" fmla="*/ 72671 w 69101"/>
                  <a:gd name="connsiteY9" fmla="*/ 61430 h 103727"/>
                  <a:gd name="connsiteX10" fmla="*/ 18427 w 69101"/>
                  <a:gd name="connsiteY10" fmla="*/ 102114 h 103727"/>
                  <a:gd name="connsiteX11" fmla="*/ 11516 w 69101"/>
                  <a:gd name="connsiteY11" fmla="*/ 104420 h 103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101" h="103727">
                    <a:moveTo>
                      <a:pt x="11516" y="104420"/>
                    </a:moveTo>
                    <a:cubicBezTo>
                      <a:pt x="7866" y="104393"/>
                      <a:pt x="4457" y="102640"/>
                      <a:pt x="2303" y="99694"/>
                    </a:cubicBezTo>
                    <a:cubicBezTo>
                      <a:pt x="-1440" y="94622"/>
                      <a:pt x="-415" y="87485"/>
                      <a:pt x="4606" y="83674"/>
                    </a:cubicBezTo>
                    <a:lnTo>
                      <a:pt x="46528" y="52210"/>
                    </a:lnTo>
                    <a:lnTo>
                      <a:pt x="4606" y="20746"/>
                    </a:lnTo>
                    <a:cubicBezTo>
                      <a:pt x="-484" y="16927"/>
                      <a:pt x="-1509" y="9703"/>
                      <a:pt x="2303" y="4611"/>
                    </a:cubicBezTo>
                    <a:cubicBezTo>
                      <a:pt x="6115" y="-481"/>
                      <a:pt x="13336" y="-1514"/>
                      <a:pt x="18427" y="2306"/>
                    </a:cubicBezTo>
                    <a:lnTo>
                      <a:pt x="72671" y="42990"/>
                    </a:lnTo>
                    <a:cubicBezTo>
                      <a:pt x="77761" y="46809"/>
                      <a:pt x="78786" y="54033"/>
                      <a:pt x="74974" y="59125"/>
                    </a:cubicBezTo>
                    <a:cubicBezTo>
                      <a:pt x="74317" y="59999"/>
                      <a:pt x="73546" y="60775"/>
                      <a:pt x="72671" y="61430"/>
                    </a:cubicBezTo>
                    <a:lnTo>
                      <a:pt x="18427" y="102114"/>
                    </a:lnTo>
                    <a:cubicBezTo>
                      <a:pt x="16434" y="103610"/>
                      <a:pt x="14004" y="104420"/>
                      <a:pt x="11516" y="104420"/>
                    </a:cubicBezTo>
                    <a:close/>
                  </a:path>
                </a:pathLst>
              </a:custGeom>
              <a:grp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grpSp>
        <p:sp>
          <p:nvSpPr>
            <p:cNvPr id="31" name="Rectangle 30">
              <a:extLst>
                <a:ext uri="{FF2B5EF4-FFF2-40B4-BE49-F238E27FC236}">
                  <a16:creationId xmlns:a16="http://schemas.microsoft.com/office/drawing/2014/main" id="{7A9F1BCB-EEAE-496F-B39A-87CEA324EF21}"/>
                </a:ext>
              </a:extLst>
            </p:cNvPr>
            <p:cNvSpPr/>
            <p:nvPr/>
          </p:nvSpPr>
          <p:spPr>
            <a:xfrm>
              <a:off x="8719957" y="2296250"/>
              <a:ext cx="3227709" cy="276999"/>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Offer Delivery</a:t>
              </a:r>
              <a:endParaRPr kumimoji="0" lang="en-US" sz="1200" b="1" i="0" u="none" strike="noStrike" kern="1200" cap="none" spc="0" normalizeH="0" baseline="0" noProof="0" dirty="0">
                <a:ln>
                  <a:noFill/>
                </a:ln>
                <a:solidFill>
                  <a:srgbClr val="000000"/>
                </a:solidFill>
                <a:effectLst/>
                <a:uLnTx/>
                <a:uFillTx/>
                <a:ea typeface="+mn-ea"/>
                <a:cs typeface="Calibri"/>
              </a:endParaRPr>
            </a:p>
          </p:txBody>
        </p:sp>
        <p:sp>
          <p:nvSpPr>
            <p:cNvPr id="32" name="Rectangle 31">
              <a:extLst>
                <a:ext uri="{FF2B5EF4-FFF2-40B4-BE49-F238E27FC236}">
                  <a16:creationId xmlns:a16="http://schemas.microsoft.com/office/drawing/2014/main" id="{972F1749-E424-4450-BD65-1334D00DCDC3}"/>
                </a:ext>
              </a:extLst>
            </p:cNvPr>
            <p:cNvSpPr/>
            <p:nvPr/>
          </p:nvSpPr>
          <p:spPr>
            <a:xfrm>
              <a:off x="8724495" y="2508559"/>
              <a:ext cx="2910468" cy="646331"/>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Leverage real-time customer profiles to deliver the right personalized offer to maximize revenue</a:t>
              </a:r>
            </a:p>
          </p:txBody>
        </p:sp>
        <p:sp>
          <p:nvSpPr>
            <p:cNvPr id="33" name="Rectangle 32">
              <a:extLst>
                <a:ext uri="{FF2B5EF4-FFF2-40B4-BE49-F238E27FC236}">
                  <a16:creationId xmlns:a16="http://schemas.microsoft.com/office/drawing/2014/main" id="{46B61B22-2C11-4774-91C8-D25E4B9D2061}"/>
                </a:ext>
              </a:extLst>
            </p:cNvPr>
            <p:cNvSpPr/>
            <p:nvPr/>
          </p:nvSpPr>
          <p:spPr>
            <a:xfrm>
              <a:off x="8719956" y="3611329"/>
              <a:ext cx="358118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Journey Orchestration</a:t>
              </a:r>
            </a:p>
          </p:txBody>
        </p:sp>
        <p:sp>
          <p:nvSpPr>
            <p:cNvPr id="34" name="Rectangle 33">
              <a:extLst>
                <a:ext uri="{FF2B5EF4-FFF2-40B4-BE49-F238E27FC236}">
                  <a16:creationId xmlns:a16="http://schemas.microsoft.com/office/drawing/2014/main" id="{340DAFE5-E242-4A3A-A5FC-AF9020BF8B22}"/>
                </a:ext>
              </a:extLst>
            </p:cNvPr>
            <p:cNvSpPr/>
            <p:nvPr/>
          </p:nvSpPr>
          <p:spPr>
            <a:xfrm>
              <a:off x="8719956" y="3791656"/>
              <a:ext cx="268975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Behavior-triggered journeys and campaigns</a:t>
              </a:r>
            </a:p>
          </p:txBody>
        </p:sp>
        <p:grpSp>
          <p:nvGrpSpPr>
            <p:cNvPr id="35" name="Group 34">
              <a:extLst>
                <a:ext uri="{FF2B5EF4-FFF2-40B4-BE49-F238E27FC236}">
                  <a16:creationId xmlns:a16="http://schemas.microsoft.com/office/drawing/2014/main" id="{CC097F24-D098-4C30-A68E-76D5A074B2C0}"/>
                </a:ext>
              </a:extLst>
            </p:cNvPr>
            <p:cNvGrpSpPr/>
            <p:nvPr/>
          </p:nvGrpSpPr>
          <p:grpSpPr>
            <a:xfrm>
              <a:off x="8153326" y="3577993"/>
              <a:ext cx="552212" cy="541922"/>
              <a:chOff x="8513946" y="3758099"/>
              <a:chExt cx="552212" cy="541922"/>
            </a:xfrm>
          </p:grpSpPr>
          <p:sp>
            <p:nvSpPr>
              <p:cNvPr id="55" name="Freeform 12">
                <a:extLst>
                  <a:ext uri="{FF2B5EF4-FFF2-40B4-BE49-F238E27FC236}">
                    <a16:creationId xmlns:a16="http://schemas.microsoft.com/office/drawing/2014/main" id="{7CC340BC-904F-4470-905E-054F3E4A61F6}"/>
                  </a:ext>
                </a:extLst>
              </p:cNvPr>
              <p:cNvSpPr/>
              <p:nvPr/>
            </p:nvSpPr>
            <p:spPr>
              <a:xfrm>
                <a:off x="8513946" y="3758099"/>
                <a:ext cx="552212" cy="541922"/>
              </a:xfrm>
              <a:custGeom>
                <a:avLst/>
                <a:gdLst>
                  <a:gd name="connsiteX0" fmla="*/ 276106 w 552211"/>
                  <a:gd name="connsiteY0" fmla="*/ 541922 h 541921"/>
                  <a:gd name="connsiteX1" fmla="*/ 0 w 552211"/>
                  <a:gd name="connsiteY1" fmla="*/ 270961 h 541921"/>
                  <a:gd name="connsiteX2" fmla="*/ 276106 w 552211"/>
                  <a:gd name="connsiteY2" fmla="*/ 0 h 541921"/>
                  <a:gd name="connsiteX3" fmla="*/ 552212 w 552211"/>
                  <a:gd name="connsiteY3" fmla="*/ 270961 h 541921"/>
                  <a:gd name="connsiteX4" fmla="*/ 276106 w 552211"/>
                  <a:gd name="connsiteY4" fmla="*/ 541922 h 541921"/>
                  <a:gd name="connsiteX5" fmla="*/ 276106 w 552211"/>
                  <a:gd name="connsiteY5" fmla="*/ 22580 h 541921"/>
                  <a:gd name="connsiteX6" fmla="*/ 23009 w 552211"/>
                  <a:gd name="connsiteY6" fmla="*/ 270961 h 541921"/>
                  <a:gd name="connsiteX7" fmla="*/ 276106 w 552211"/>
                  <a:gd name="connsiteY7" fmla="*/ 519342 h 541921"/>
                  <a:gd name="connsiteX8" fmla="*/ 529203 w 552211"/>
                  <a:gd name="connsiteY8" fmla="*/ 270961 h 541921"/>
                  <a:gd name="connsiteX9" fmla="*/ 276106 w 552211"/>
                  <a:gd name="connsiteY9" fmla="*/ 22580 h 541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211" h="541921">
                    <a:moveTo>
                      <a:pt x="276106" y="541922"/>
                    </a:moveTo>
                    <a:cubicBezTo>
                      <a:pt x="123615" y="541922"/>
                      <a:pt x="0" y="420608"/>
                      <a:pt x="0" y="270961"/>
                    </a:cubicBezTo>
                    <a:cubicBezTo>
                      <a:pt x="0" y="121314"/>
                      <a:pt x="123615" y="0"/>
                      <a:pt x="276106" y="0"/>
                    </a:cubicBezTo>
                    <a:cubicBezTo>
                      <a:pt x="428597" y="0"/>
                      <a:pt x="552212" y="121314"/>
                      <a:pt x="552212" y="270961"/>
                    </a:cubicBezTo>
                    <a:cubicBezTo>
                      <a:pt x="552212" y="420608"/>
                      <a:pt x="428597" y="541922"/>
                      <a:pt x="276106" y="541922"/>
                    </a:cubicBezTo>
                    <a:close/>
                    <a:moveTo>
                      <a:pt x="276106" y="22580"/>
                    </a:moveTo>
                    <a:cubicBezTo>
                      <a:pt x="136327" y="22580"/>
                      <a:pt x="23009" y="133784"/>
                      <a:pt x="23009" y="270961"/>
                    </a:cubicBezTo>
                    <a:cubicBezTo>
                      <a:pt x="23009" y="408138"/>
                      <a:pt x="136327" y="519342"/>
                      <a:pt x="276106" y="519342"/>
                    </a:cubicBezTo>
                    <a:cubicBezTo>
                      <a:pt x="415884" y="519342"/>
                      <a:pt x="529203" y="408138"/>
                      <a:pt x="529203" y="270961"/>
                    </a:cubicBezTo>
                    <a:cubicBezTo>
                      <a:pt x="529203" y="133784"/>
                      <a:pt x="415884" y="22580"/>
                      <a:pt x="276106" y="22580"/>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56" name="Freeform 39">
                <a:extLst>
                  <a:ext uri="{FF2B5EF4-FFF2-40B4-BE49-F238E27FC236}">
                    <a16:creationId xmlns:a16="http://schemas.microsoft.com/office/drawing/2014/main" id="{1DF615A6-E5F1-4F12-A1C7-46A4940E1AA0}"/>
                  </a:ext>
                </a:extLst>
              </p:cNvPr>
              <p:cNvSpPr/>
              <p:nvPr/>
            </p:nvSpPr>
            <p:spPr>
              <a:xfrm>
                <a:off x="8595742" y="4018334"/>
                <a:ext cx="379645" cy="22580"/>
              </a:xfrm>
              <a:custGeom>
                <a:avLst/>
                <a:gdLst>
                  <a:gd name="connsiteX0" fmla="*/ 378380 w 379645"/>
                  <a:gd name="connsiteY0" fmla="*/ 22580 h 22580"/>
                  <a:gd name="connsiteX1" fmla="*/ 378380 w 379645"/>
                  <a:gd name="connsiteY1" fmla="*/ 22580 h 22580"/>
                  <a:gd name="connsiteX2" fmla="*/ 11504 w 379645"/>
                  <a:gd name="connsiteY2" fmla="*/ 22580 h 22580"/>
                  <a:gd name="connsiteX3" fmla="*/ 0 w 379645"/>
                  <a:gd name="connsiteY3" fmla="*/ 11290 h 22580"/>
                  <a:gd name="connsiteX4" fmla="*/ 11504 w 379645"/>
                  <a:gd name="connsiteY4" fmla="*/ 0 h 22580"/>
                  <a:gd name="connsiteX5" fmla="*/ 11504 w 379645"/>
                  <a:gd name="connsiteY5" fmla="*/ 0 h 22580"/>
                  <a:gd name="connsiteX6" fmla="*/ 378265 w 379645"/>
                  <a:gd name="connsiteY6" fmla="*/ 0 h 22580"/>
                  <a:gd name="connsiteX7" fmla="*/ 389769 w 379645"/>
                  <a:gd name="connsiteY7" fmla="*/ 11290 h 22580"/>
                  <a:gd name="connsiteX8" fmla="*/ 378380 w 379645"/>
                  <a:gd name="connsiteY8" fmla="*/ 22580 h 2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645" h="22580">
                    <a:moveTo>
                      <a:pt x="378380" y="22580"/>
                    </a:moveTo>
                    <a:lnTo>
                      <a:pt x="378380" y="22580"/>
                    </a:lnTo>
                    <a:lnTo>
                      <a:pt x="11504" y="22580"/>
                    </a:lnTo>
                    <a:cubicBezTo>
                      <a:pt x="5154" y="22580"/>
                      <a:pt x="0" y="17526"/>
                      <a:pt x="0" y="11290"/>
                    </a:cubicBezTo>
                    <a:cubicBezTo>
                      <a:pt x="0" y="5055"/>
                      <a:pt x="5154" y="0"/>
                      <a:pt x="11504" y="0"/>
                    </a:cubicBezTo>
                    <a:lnTo>
                      <a:pt x="11504" y="0"/>
                    </a:lnTo>
                    <a:lnTo>
                      <a:pt x="378265" y="0"/>
                    </a:lnTo>
                    <a:cubicBezTo>
                      <a:pt x="384615" y="0"/>
                      <a:pt x="389769" y="5055"/>
                      <a:pt x="389769" y="11290"/>
                    </a:cubicBezTo>
                    <a:cubicBezTo>
                      <a:pt x="389769" y="17482"/>
                      <a:pt x="384685" y="22518"/>
                      <a:pt x="378380" y="22580"/>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57" name="Freeform 41">
                <a:extLst>
                  <a:ext uri="{FF2B5EF4-FFF2-40B4-BE49-F238E27FC236}">
                    <a16:creationId xmlns:a16="http://schemas.microsoft.com/office/drawing/2014/main" id="{8CAF93C4-08E7-47BF-89B3-E0EE5F2AB107}"/>
                  </a:ext>
                </a:extLst>
              </p:cNvPr>
              <p:cNvSpPr/>
              <p:nvPr/>
            </p:nvSpPr>
            <p:spPr>
              <a:xfrm>
                <a:off x="8917683" y="3973843"/>
                <a:ext cx="57522" cy="101610"/>
              </a:xfrm>
              <a:custGeom>
                <a:avLst/>
                <a:gdLst>
                  <a:gd name="connsiteX0" fmla="*/ 11457 w 57522"/>
                  <a:gd name="connsiteY0" fmla="*/ 111667 h 101610"/>
                  <a:gd name="connsiteX1" fmla="*/ 3404 w 57522"/>
                  <a:gd name="connsiteY1" fmla="*/ 108393 h 101610"/>
                  <a:gd name="connsiteX2" fmla="*/ 3404 w 57522"/>
                  <a:gd name="connsiteY2" fmla="*/ 92474 h 101610"/>
                  <a:gd name="connsiteX3" fmla="*/ 40678 w 57522"/>
                  <a:gd name="connsiteY3" fmla="*/ 55894 h 101610"/>
                  <a:gd name="connsiteX4" fmla="*/ 3404 w 57522"/>
                  <a:gd name="connsiteY4" fmla="*/ 19315 h 101610"/>
                  <a:gd name="connsiteX5" fmla="*/ 3335 w 57522"/>
                  <a:gd name="connsiteY5" fmla="*/ 3348 h 101610"/>
                  <a:gd name="connsiteX6" fmla="*/ 3404 w 57522"/>
                  <a:gd name="connsiteY6" fmla="*/ 3283 h 101610"/>
                  <a:gd name="connsiteX7" fmla="*/ 19625 w 57522"/>
                  <a:gd name="connsiteY7" fmla="*/ 3283 h 101610"/>
                  <a:gd name="connsiteX8" fmla="*/ 65068 w 57522"/>
                  <a:gd name="connsiteY8" fmla="*/ 47879 h 101610"/>
                  <a:gd name="connsiteX9" fmla="*/ 68404 w 57522"/>
                  <a:gd name="connsiteY9" fmla="*/ 55894 h 101610"/>
                  <a:gd name="connsiteX10" fmla="*/ 65068 w 57522"/>
                  <a:gd name="connsiteY10" fmla="*/ 63797 h 101610"/>
                  <a:gd name="connsiteX11" fmla="*/ 19625 w 57522"/>
                  <a:gd name="connsiteY11" fmla="*/ 108280 h 101610"/>
                  <a:gd name="connsiteX12" fmla="*/ 11457 w 57522"/>
                  <a:gd name="connsiteY12" fmla="*/ 111667 h 10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522" h="101610">
                    <a:moveTo>
                      <a:pt x="11457" y="111667"/>
                    </a:moveTo>
                    <a:cubicBezTo>
                      <a:pt x="8443" y="111655"/>
                      <a:pt x="5544" y="110478"/>
                      <a:pt x="3404" y="108393"/>
                    </a:cubicBezTo>
                    <a:cubicBezTo>
                      <a:pt x="-1060" y="103990"/>
                      <a:pt x="-1060" y="96877"/>
                      <a:pt x="3404" y="92474"/>
                    </a:cubicBezTo>
                    <a:lnTo>
                      <a:pt x="40678" y="55894"/>
                    </a:lnTo>
                    <a:lnTo>
                      <a:pt x="3404" y="19315"/>
                    </a:lnTo>
                    <a:cubicBezTo>
                      <a:pt x="-1106" y="14924"/>
                      <a:pt x="-1140" y="7775"/>
                      <a:pt x="3335" y="3348"/>
                    </a:cubicBezTo>
                    <a:cubicBezTo>
                      <a:pt x="3358" y="3327"/>
                      <a:pt x="3381" y="3304"/>
                      <a:pt x="3404" y="3283"/>
                    </a:cubicBezTo>
                    <a:cubicBezTo>
                      <a:pt x="7891" y="-1094"/>
                      <a:pt x="15139" y="-1094"/>
                      <a:pt x="19625" y="3283"/>
                    </a:cubicBezTo>
                    <a:lnTo>
                      <a:pt x="65068" y="47879"/>
                    </a:lnTo>
                    <a:cubicBezTo>
                      <a:pt x="67219" y="50009"/>
                      <a:pt x="68427" y="52894"/>
                      <a:pt x="68404" y="55894"/>
                    </a:cubicBezTo>
                    <a:cubicBezTo>
                      <a:pt x="68392" y="58856"/>
                      <a:pt x="67196" y="61694"/>
                      <a:pt x="65068" y="63797"/>
                    </a:cubicBezTo>
                    <a:lnTo>
                      <a:pt x="19625" y="108280"/>
                    </a:lnTo>
                    <a:cubicBezTo>
                      <a:pt x="17474" y="110436"/>
                      <a:pt x="14529" y="111655"/>
                      <a:pt x="11457" y="111667"/>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58" name="Freeform 42">
                <a:extLst>
                  <a:ext uri="{FF2B5EF4-FFF2-40B4-BE49-F238E27FC236}">
                    <a16:creationId xmlns:a16="http://schemas.microsoft.com/office/drawing/2014/main" id="{FC191D7B-A9E1-4363-AE88-098B84BE5E6E}"/>
                  </a:ext>
                </a:extLst>
              </p:cNvPr>
              <p:cNvSpPr/>
              <p:nvPr/>
            </p:nvSpPr>
            <p:spPr>
              <a:xfrm>
                <a:off x="8778874" y="3887088"/>
                <a:ext cx="115044" cy="79030"/>
              </a:xfrm>
              <a:custGeom>
                <a:avLst/>
                <a:gdLst>
                  <a:gd name="connsiteX0" fmla="*/ 107010 w 115044"/>
                  <a:gd name="connsiteY0" fmla="*/ 89361 h 79030"/>
                  <a:gd name="connsiteX1" fmla="*/ 96311 w 115044"/>
                  <a:gd name="connsiteY1" fmla="*/ 82135 h 79030"/>
                  <a:gd name="connsiteX2" fmla="*/ 73302 w 115044"/>
                  <a:gd name="connsiteY2" fmla="*/ 25685 h 79030"/>
                  <a:gd name="connsiteX3" fmla="*/ 15780 w 115044"/>
                  <a:gd name="connsiteY3" fmla="*/ 48265 h 79030"/>
                  <a:gd name="connsiteX4" fmla="*/ 836 w 115044"/>
                  <a:gd name="connsiteY4" fmla="*/ 41962 h 79030"/>
                  <a:gd name="connsiteX5" fmla="*/ 824 w 115044"/>
                  <a:gd name="connsiteY5" fmla="*/ 41942 h 79030"/>
                  <a:gd name="connsiteX6" fmla="*/ 7244 w 115044"/>
                  <a:gd name="connsiteY6" fmla="*/ 27273 h 79030"/>
                  <a:gd name="connsiteX7" fmla="*/ 7267 w 115044"/>
                  <a:gd name="connsiteY7" fmla="*/ 27265 h 79030"/>
                  <a:gd name="connsiteX8" fmla="*/ 75373 w 115044"/>
                  <a:gd name="connsiteY8" fmla="*/ 847 h 79030"/>
                  <a:gd name="connsiteX9" fmla="*/ 84116 w 115044"/>
                  <a:gd name="connsiteY9" fmla="*/ 847 h 79030"/>
                  <a:gd name="connsiteX10" fmla="*/ 90213 w 115044"/>
                  <a:gd name="connsiteY10" fmla="*/ 7056 h 79030"/>
                  <a:gd name="connsiteX11" fmla="*/ 117709 w 115044"/>
                  <a:gd name="connsiteY11" fmla="*/ 74232 h 79030"/>
                  <a:gd name="connsiteX12" fmla="*/ 111290 w 115044"/>
                  <a:gd name="connsiteY12" fmla="*/ 88901 h 79030"/>
                  <a:gd name="connsiteX13" fmla="*/ 111267 w 115044"/>
                  <a:gd name="connsiteY13" fmla="*/ 88909 h 79030"/>
                  <a:gd name="connsiteX14" fmla="*/ 107010 w 115044"/>
                  <a:gd name="connsiteY14" fmla="*/ 89361 h 7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5044" h="79030">
                    <a:moveTo>
                      <a:pt x="107010" y="89361"/>
                    </a:moveTo>
                    <a:cubicBezTo>
                      <a:pt x="102270" y="89347"/>
                      <a:pt x="98014" y="86478"/>
                      <a:pt x="96311" y="82135"/>
                    </a:cubicBezTo>
                    <a:lnTo>
                      <a:pt x="73302" y="25685"/>
                    </a:lnTo>
                    <a:lnTo>
                      <a:pt x="15780" y="48265"/>
                    </a:lnTo>
                    <a:cubicBezTo>
                      <a:pt x="9878" y="50575"/>
                      <a:pt x="3183" y="47753"/>
                      <a:pt x="836" y="41962"/>
                    </a:cubicBezTo>
                    <a:cubicBezTo>
                      <a:pt x="824" y="41955"/>
                      <a:pt x="824" y="41949"/>
                      <a:pt x="824" y="41942"/>
                    </a:cubicBezTo>
                    <a:cubicBezTo>
                      <a:pt x="-1534" y="36151"/>
                      <a:pt x="1342" y="29583"/>
                      <a:pt x="7244" y="27273"/>
                    </a:cubicBezTo>
                    <a:cubicBezTo>
                      <a:pt x="7255" y="27270"/>
                      <a:pt x="7255" y="27268"/>
                      <a:pt x="7267" y="27265"/>
                    </a:cubicBezTo>
                    <a:lnTo>
                      <a:pt x="75373" y="847"/>
                    </a:lnTo>
                    <a:cubicBezTo>
                      <a:pt x="78168" y="-282"/>
                      <a:pt x="81320" y="-282"/>
                      <a:pt x="84116" y="847"/>
                    </a:cubicBezTo>
                    <a:cubicBezTo>
                      <a:pt x="86900" y="2044"/>
                      <a:pt x="89098" y="4277"/>
                      <a:pt x="90213" y="7056"/>
                    </a:cubicBezTo>
                    <a:lnTo>
                      <a:pt x="117709" y="74232"/>
                    </a:lnTo>
                    <a:cubicBezTo>
                      <a:pt x="120067" y="80024"/>
                      <a:pt x="117191" y="86591"/>
                      <a:pt x="111290" y="88901"/>
                    </a:cubicBezTo>
                    <a:cubicBezTo>
                      <a:pt x="111278" y="88905"/>
                      <a:pt x="111278" y="88907"/>
                      <a:pt x="111267" y="88909"/>
                    </a:cubicBezTo>
                    <a:cubicBezTo>
                      <a:pt x="109875" y="89264"/>
                      <a:pt x="108448" y="89416"/>
                      <a:pt x="107010" y="89361"/>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59" name="Freeform 43">
                <a:extLst>
                  <a:ext uri="{FF2B5EF4-FFF2-40B4-BE49-F238E27FC236}">
                    <a16:creationId xmlns:a16="http://schemas.microsoft.com/office/drawing/2014/main" id="{41A98468-E5DF-4DE4-B514-00521464BA17}"/>
                  </a:ext>
                </a:extLst>
              </p:cNvPr>
              <p:cNvSpPr/>
              <p:nvPr/>
            </p:nvSpPr>
            <p:spPr>
              <a:xfrm>
                <a:off x="8726778" y="3897041"/>
                <a:ext cx="138053" cy="135480"/>
              </a:xfrm>
              <a:custGeom>
                <a:avLst/>
                <a:gdLst>
                  <a:gd name="connsiteX0" fmla="*/ 11504 w 138052"/>
                  <a:gd name="connsiteY0" fmla="*/ 143309 h 135480"/>
                  <a:gd name="connsiteX1" fmla="*/ 0 w 138052"/>
                  <a:gd name="connsiteY1" fmla="*/ 132019 h 135480"/>
                  <a:gd name="connsiteX2" fmla="*/ 11504 w 138052"/>
                  <a:gd name="connsiteY2" fmla="*/ 120729 h 135480"/>
                  <a:gd name="connsiteX3" fmla="*/ 116309 w 138052"/>
                  <a:gd name="connsiteY3" fmla="*/ 9522 h 135480"/>
                  <a:gd name="connsiteX4" fmla="*/ 129471 w 138052"/>
                  <a:gd name="connsiteY4" fmla="*/ 141 h 135480"/>
                  <a:gd name="connsiteX5" fmla="*/ 129540 w 138052"/>
                  <a:gd name="connsiteY5" fmla="*/ 151 h 135480"/>
                  <a:gd name="connsiteX6" fmla="*/ 139100 w 138052"/>
                  <a:gd name="connsiteY6" fmla="*/ 13072 h 135480"/>
                  <a:gd name="connsiteX7" fmla="*/ 139088 w 138052"/>
                  <a:gd name="connsiteY7" fmla="*/ 13135 h 135480"/>
                  <a:gd name="connsiteX8" fmla="*/ 11504 w 138052"/>
                  <a:gd name="connsiteY8" fmla="*/ 143309 h 135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052" h="135480">
                    <a:moveTo>
                      <a:pt x="11504" y="143309"/>
                    </a:moveTo>
                    <a:cubicBezTo>
                      <a:pt x="5154" y="143309"/>
                      <a:pt x="0" y="138255"/>
                      <a:pt x="0" y="132019"/>
                    </a:cubicBezTo>
                    <a:cubicBezTo>
                      <a:pt x="0" y="125784"/>
                      <a:pt x="5154" y="120729"/>
                      <a:pt x="11504" y="120729"/>
                    </a:cubicBezTo>
                    <a:cubicBezTo>
                      <a:pt x="96982" y="120729"/>
                      <a:pt x="116195" y="10651"/>
                      <a:pt x="116309" y="9522"/>
                    </a:cubicBezTo>
                    <a:cubicBezTo>
                      <a:pt x="117310" y="3363"/>
                      <a:pt x="123201" y="-836"/>
                      <a:pt x="129471" y="141"/>
                    </a:cubicBezTo>
                    <a:cubicBezTo>
                      <a:pt x="129494" y="145"/>
                      <a:pt x="129517" y="148"/>
                      <a:pt x="129540" y="151"/>
                    </a:cubicBezTo>
                    <a:cubicBezTo>
                      <a:pt x="135809" y="1129"/>
                      <a:pt x="140089" y="6913"/>
                      <a:pt x="139100" y="13072"/>
                    </a:cubicBezTo>
                    <a:cubicBezTo>
                      <a:pt x="139100" y="13092"/>
                      <a:pt x="139088" y="13114"/>
                      <a:pt x="139088" y="13135"/>
                    </a:cubicBezTo>
                    <a:cubicBezTo>
                      <a:pt x="131610" y="58182"/>
                      <a:pt x="95372" y="143309"/>
                      <a:pt x="11504" y="143309"/>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60" name="Freeform 44">
                <a:extLst>
                  <a:ext uri="{FF2B5EF4-FFF2-40B4-BE49-F238E27FC236}">
                    <a16:creationId xmlns:a16="http://schemas.microsoft.com/office/drawing/2014/main" id="{BCC87979-C264-48FA-AFF5-B7FDB117A58D}"/>
                  </a:ext>
                </a:extLst>
              </p:cNvPr>
              <p:cNvSpPr/>
              <p:nvPr/>
            </p:nvSpPr>
            <p:spPr>
              <a:xfrm>
                <a:off x="8779567" y="4081784"/>
                <a:ext cx="115044" cy="79030"/>
              </a:xfrm>
              <a:custGeom>
                <a:avLst/>
                <a:gdLst>
                  <a:gd name="connsiteX0" fmla="*/ 79512 w 115044"/>
                  <a:gd name="connsiteY0" fmla="*/ 89305 h 79030"/>
                  <a:gd name="connsiteX1" fmla="*/ 75370 w 115044"/>
                  <a:gd name="connsiteY1" fmla="*/ 88515 h 79030"/>
                  <a:gd name="connsiteX2" fmla="*/ 7264 w 115044"/>
                  <a:gd name="connsiteY2" fmla="*/ 62096 h 79030"/>
                  <a:gd name="connsiteX3" fmla="*/ 810 w 115044"/>
                  <a:gd name="connsiteY3" fmla="*/ 47438 h 79030"/>
                  <a:gd name="connsiteX4" fmla="*/ 821 w 115044"/>
                  <a:gd name="connsiteY4" fmla="*/ 47419 h 79030"/>
                  <a:gd name="connsiteX5" fmla="*/ 15754 w 115044"/>
                  <a:gd name="connsiteY5" fmla="*/ 41089 h 79030"/>
                  <a:gd name="connsiteX6" fmla="*/ 15777 w 115044"/>
                  <a:gd name="connsiteY6" fmla="*/ 41097 h 79030"/>
                  <a:gd name="connsiteX7" fmla="*/ 73299 w 115044"/>
                  <a:gd name="connsiteY7" fmla="*/ 63677 h 79030"/>
                  <a:gd name="connsiteX8" fmla="*/ 96308 w 115044"/>
                  <a:gd name="connsiteY8" fmla="*/ 7226 h 79030"/>
                  <a:gd name="connsiteX9" fmla="*/ 111183 w 115044"/>
                  <a:gd name="connsiteY9" fmla="*/ 761 h 79030"/>
                  <a:gd name="connsiteX10" fmla="*/ 111264 w 115044"/>
                  <a:gd name="connsiteY10" fmla="*/ 791 h 79030"/>
                  <a:gd name="connsiteX11" fmla="*/ 117718 w 115044"/>
                  <a:gd name="connsiteY11" fmla="*/ 15449 h 79030"/>
                  <a:gd name="connsiteX12" fmla="*/ 117706 w 115044"/>
                  <a:gd name="connsiteY12" fmla="*/ 15468 h 79030"/>
                  <a:gd name="connsiteX13" fmla="*/ 89981 w 115044"/>
                  <a:gd name="connsiteY13" fmla="*/ 82757 h 79030"/>
                  <a:gd name="connsiteX14" fmla="*/ 83883 w 115044"/>
                  <a:gd name="connsiteY14" fmla="*/ 88966 h 79030"/>
                  <a:gd name="connsiteX15" fmla="*/ 79512 w 115044"/>
                  <a:gd name="connsiteY15" fmla="*/ 89305 h 7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044" h="79030">
                    <a:moveTo>
                      <a:pt x="79512" y="89305"/>
                    </a:moveTo>
                    <a:cubicBezTo>
                      <a:pt x="78085" y="89327"/>
                      <a:pt x="76681" y="89058"/>
                      <a:pt x="75370" y="88515"/>
                    </a:cubicBezTo>
                    <a:lnTo>
                      <a:pt x="7264" y="62096"/>
                    </a:lnTo>
                    <a:cubicBezTo>
                      <a:pt x="1362" y="59796"/>
                      <a:pt x="-1526" y="53233"/>
                      <a:pt x="810" y="47438"/>
                    </a:cubicBezTo>
                    <a:cubicBezTo>
                      <a:pt x="821" y="47431"/>
                      <a:pt x="821" y="47426"/>
                      <a:pt x="821" y="47419"/>
                    </a:cubicBezTo>
                    <a:cubicBezTo>
                      <a:pt x="3168" y="41624"/>
                      <a:pt x="9852" y="38789"/>
                      <a:pt x="15754" y="41089"/>
                    </a:cubicBezTo>
                    <a:cubicBezTo>
                      <a:pt x="15766" y="41092"/>
                      <a:pt x="15766" y="41094"/>
                      <a:pt x="15777" y="41097"/>
                    </a:cubicBezTo>
                    <a:lnTo>
                      <a:pt x="73299" y="63677"/>
                    </a:lnTo>
                    <a:lnTo>
                      <a:pt x="96308" y="7226"/>
                    </a:lnTo>
                    <a:cubicBezTo>
                      <a:pt x="98597" y="1410"/>
                      <a:pt x="105258" y="-1485"/>
                      <a:pt x="111183" y="761"/>
                    </a:cubicBezTo>
                    <a:cubicBezTo>
                      <a:pt x="111206" y="771"/>
                      <a:pt x="111241" y="781"/>
                      <a:pt x="111264" y="791"/>
                    </a:cubicBezTo>
                    <a:cubicBezTo>
                      <a:pt x="117166" y="3091"/>
                      <a:pt x="120053" y="9654"/>
                      <a:pt x="117718" y="15449"/>
                    </a:cubicBezTo>
                    <a:cubicBezTo>
                      <a:pt x="117706" y="15456"/>
                      <a:pt x="117706" y="15461"/>
                      <a:pt x="117706" y="15468"/>
                    </a:cubicBezTo>
                    <a:lnTo>
                      <a:pt x="89981" y="82757"/>
                    </a:lnTo>
                    <a:cubicBezTo>
                      <a:pt x="88864" y="85536"/>
                      <a:pt x="86667" y="87770"/>
                      <a:pt x="83883" y="88966"/>
                    </a:cubicBezTo>
                    <a:cubicBezTo>
                      <a:pt x="82457" y="89328"/>
                      <a:pt x="80973" y="89443"/>
                      <a:pt x="79512" y="89305"/>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61" name="Freeform 45">
                <a:extLst>
                  <a:ext uri="{FF2B5EF4-FFF2-40B4-BE49-F238E27FC236}">
                    <a16:creationId xmlns:a16="http://schemas.microsoft.com/office/drawing/2014/main" id="{476DBB5F-5623-4EDD-8DCC-96E89F8AC32E}"/>
                  </a:ext>
                </a:extLst>
              </p:cNvPr>
              <p:cNvSpPr/>
              <p:nvPr/>
            </p:nvSpPr>
            <p:spPr>
              <a:xfrm>
                <a:off x="8726662" y="4017770"/>
                <a:ext cx="138053" cy="135480"/>
              </a:xfrm>
              <a:custGeom>
                <a:avLst/>
                <a:gdLst>
                  <a:gd name="connsiteX0" fmla="*/ 127814 w 138052"/>
                  <a:gd name="connsiteY0" fmla="*/ 143271 h 135480"/>
                  <a:gd name="connsiteX1" fmla="*/ 116310 w 138052"/>
                  <a:gd name="connsiteY1" fmla="*/ 133787 h 135480"/>
                  <a:gd name="connsiteX2" fmla="*/ 11504 w 138052"/>
                  <a:gd name="connsiteY2" fmla="*/ 22580 h 135480"/>
                  <a:gd name="connsiteX3" fmla="*/ 0 w 138052"/>
                  <a:gd name="connsiteY3" fmla="*/ 11290 h 135480"/>
                  <a:gd name="connsiteX4" fmla="*/ 11504 w 138052"/>
                  <a:gd name="connsiteY4" fmla="*/ 0 h 135480"/>
                  <a:gd name="connsiteX5" fmla="*/ 139088 w 138052"/>
                  <a:gd name="connsiteY5" fmla="*/ 130174 h 135480"/>
                  <a:gd name="connsiteX6" fmla="*/ 129609 w 138052"/>
                  <a:gd name="connsiteY6" fmla="*/ 143148 h 135480"/>
                  <a:gd name="connsiteX7" fmla="*/ 129540 w 138052"/>
                  <a:gd name="connsiteY7" fmla="*/ 143158 h 135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052" h="135480">
                    <a:moveTo>
                      <a:pt x="127814" y="143271"/>
                    </a:moveTo>
                    <a:cubicBezTo>
                      <a:pt x="122120" y="143343"/>
                      <a:pt x="117218" y="139309"/>
                      <a:pt x="116310" y="133787"/>
                    </a:cubicBezTo>
                    <a:cubicBezTo>
                      <a:pt x="115620" y="129271"/>
                      <a:pt x="96752" y="22580"/>
                      <a:pt x="11504" y="22580"/>
                    </a:cubicBezTo>
                    <a:cubicBezTo>
                      <a:pt x="5154" y="22580"/>
                      <a:pt x="0" y="17526"/>
                      <a:pt x="0" y="11290"/>
                    </a:cubicBezTo>
                    <a:cubicBezTo>
                      <a:pt x="0" y="5055"/>
                      <a:pt x="5154" y="0"/>
                      <a:pt x="11504" y="0"/>
                    </a:cubicBezTo>
                    <a:cubicBezTo>
                      <a:pt x="95372" y="0"/>
                      <a:pt x="131610" y="85127"/>
                      <a:pt x="139088" y="130174"/>
                    </a:cubicBezTo>
                    <a:cubicBezTo>
                      <a:pt x="140124" y="136327"/>
                      <a:pt x="135879" y="142135"/>
                      <a:pt x="129609" y="143148"/>
                    </a:cubicBezTo>
                    <a:cubicBezTo>
                      <a:pt x="129586" y="143151"/>
                      <a:pt x="129563" y="143154"/>
                      <a:pt x="129540" y="143158"/>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grpSp>
        <p:sp>
          <p:nvSpPr>
            <p:cNvPr id="36" name="Rectangle 35">
              <a:extLst>
                <a:ext uri="{FF2B5EF4-FFF2-40B4-BE49-F238E27FC236}">
                  <a16:creationId xmlns:a16="http://schemas.microsoft.com/office/drawing/2014/main" id="{E45EE79F-B60C-4B8E-955E-B8ED4A69E425}"/>
                </a:ext>
              </a:extLst>
            </p:cNvPr>
            <p:cNvSpPr/>
            <p:nvPr/>
          </p:nvSpPr>
          <p:spPr>
            <a:xfrm>
              <a:off x="8719957" y="4837757"/>
              <a:ext cx="2773777"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Personalization &amp; Testing</a:t>
              </a:r>
            </a:p>
          </p:txBody>
        </p:sp>
        <p:sp>
          <p:nvSpPr>
            <p:cNvPr id="37" name="Rectangle 36">
              <a:extLst>
                <a:ext uri="{FF2B5EF4-FFF2-40B4-BE49-F238E27FC236}">
                  <a16:creationId xmlns:a16="http://schemas.microsoft.com/office/drawing/2014/main" id="{719EE677-7189-4E35-AB79-9F8E3FD64247}"/>
                </a:ext>
              </a:extLst>
            </p:cNvPr>
            <p:cNvSpPr/>
            <p:nvPr/>
          </p:nvSpPr>
          <p:spPr>
            <a:xfrm>
              <a:off x="8734380" y="5053836"/>
              <a:ext cx="2689750"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Activate dynamic segments created to preferred destinations that can optimized with A/B/n testing</a:t>
              </a:r>
            </a:p>
          </p:txBody>
        </p:sp>
        <p:grpSp>
          <p:nvGrpSpPr>
            <p:cNvPr id="38" name="Group 37">
              <a:extLst>
                <a:ext uri="{FF2B5EF4-FFF2-40B4-BE49-F238E27FC236}">
                  <a16:creationId xmlns:a16="http://schemas.microsoft.com/office/drawing/2014/main" id="{B7127542-B3A3-42D7-A084-26C573686060}"/>
                </a:ext>
              </a:extLst>
            </p:cNvPr>
            <p:cNvGrpSpPr/>
            <p:nvPr/>
          </p:nvGrpSpPr>
          <p:grpSpPr>
            <a:xfrm>
              <a:off x="8153028" y="2305302"/>
              <a:ext cx="552808" cy="552062"/>
              <a:chOff x="8513648" y="2530064"/>
              <a:chExt cx="552808" cy="552062"/>
            </a:xfrm>
          </p:grpSpPr>
          <p:sp>
            <p:nvSpPr>
              <p:cNvPr id="46" name="Freeform 45">
                <a:extLst>
                  <a:ext uri="{FF2B5EF4-FFF2-40B4-BE49-F238E27FC236}">
                    <a16:creationId xmlns:a16="http://schemas.microsoft.com/office/drawing/2014/main" id="{424D18ED-EFAC-4684-8F1D-4B3650FC0AA4}"/>
                  </a:ext>
                </a:extLst>
              </p:cNvPr>
              <p:cNvSpPr/>
              <p:nvPr/>
            </p:nvSpPr>
            <p:spPr>
              <a:xfrm>
                <a:off x="8513648" y="2530064"/>
                <a:ext cx="552808" cy="552062"/>
              </a:xfrm>
              <a:custGeom>
                <a:avLst/>
                <a:gdLst>
                  <a:gd name="connsiteX0" fmla="*/ 276404 w 552808"/>
                  <a:gd name="connsiteY0" fmla="*/ 552062 h 552061"/>
                  <a:gd name="connsiteX1" fmla="*/ 0 w 552808"/>
                  <a:gd name="connsiteY1" fmla="*/ 276031 h 552061"/>
                  <a:gd name="connsiteX2" fmla="*/ 276404 w 552808"/>
                  <a:gd name="connsiteY2" fmla="*/ 0 h 552061"/>
                  <a:gd name="connsiteX3" fmla="*/ 552809 w 552808"/>
                  <a:gd name="connsiteY3" fmla="*/ 276031 h 552061"/>
                  <a:gd name="connsiteX4" fmla="*/ 276404 w 552808"/>
                  <a:gd name="connsiteY4" fmla="*/ 552062 h 552061"/>
                  <a:gd name="connsiteX5" fmla="*/ 276404 w 552808"/>
                  <a:gd name="connsiteY5" fmla="*/ 23003 h 552061"/>
                  <a:gd name="connsiteX6" fmla="*/ 23034 w 552808"/>
                  <a:gd name="connsiteY6" fmla="*/ 276031 h 552061"/>
                  <a:gd name="connsiteX7" fmla="*/ 276404 w 552808"/>
                  <a:gd name="connsiteY7" fmla="*/ 529059 h 552061"/>
                  <a:gd name="connsiteX8" fmla="*/ 529775 w 552808"/>
                  <a:gd name="connsiteY8" fmla="*/ 276031 h 552061"/>
                  <a:gd name="connsiteX9" fmla="*/ 276404 w 552808"/>
                  <a:gd name="connsiteY9" fmla="*/ 23003 h 55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808" h="552061">
                    <a:moveTo>
                      <a:pt x="276404" y="552062"/>
                    </a:moveTo>
                    <a:cubicBezTo>
                      <a:pt x="123748" y="552062"/>
                      <a:pt x="0" y="428481"/>
                      <a:pt x="0" y="276031"/>
                    </a:cubicBezTo>
                    <a:cubicBezTo>
                      <a:pt x="0" y="123581"/>
                      <a:pt x="123748" y="0"/>
                      <a:pt x="276404" y="0"/>
                    </a:cubicBezTo>
                    <a:cubicBezTo>
                      <a:pt x="429060" y="0"/>
                      <a:pt x="552809" y="123581"/>
                      <a:pt x="552809" y="276031"/>
                    </a:cubicBezTo>
                    <a:cubicBezTo>
                      <a:pt x="552809" y="428481"/>
                      <a:pt x="429060" y="552062"/>
                      <a:pt x="276404" y="552062"/>
                    </a:cubicBezTo>
                    <a:close/>
                    <a:moveTo>
                      <a:pt x="276404" y="23003"/>
                    </a:moveTo>
                    <a:cubicBezTo>
                      <a:pt x="136474" y="23003"/>
                      <a:pt x="23034" y="136290"/>
                      <a:pt x="23034" y="276031"/>
                    </a:cubicBezTo>
                    <a:cubicBezTo>
                      <a:pt x="23034" y="415772"/>
                      <a:pt x="136474" y="529059"/>
                      <a:pt x="276404" y="529059"/>
                    </a:cubicBezTo>
                    <a:cubicBezTo>
                      <a:pt x="416333" y="529059"/>
                      <a:pt x="529775" y="415772"/>
                      <a:pt x="529775" y="276031"/>
                    </a:cubicBezTo>
                    <a:cubicBezTo>
                      <a:pt x="529775" y="136290"/>
                      <a:pt x="416333" y="23003"/>
                      <a:pt x="276404" y="23003"/>
                    </a:cubicBezTo>
                    <a:close/>
                  </a:path>
                </a:pathLst>
              </a:custGeom>
              <a:solidFill>
                <a:srgbClr val="FCD200"/>
              </a:solid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47" name="Freeform 46">
                <a:extLst>
                  <a:ext uri="{FF2B5EF4-FFF2-40B4-BE49-F238E27FC236}">
                    <a16:creationId xmlns:a16="http://schemas.microsoft.com/office/drawing/2014/main" id="{8E38394A-F646-4CF3-B0A1-A6E248000715}"/>
                  </a:ext>
                </a:extLst>
              </p:cNvPr>
              <p:cNvSpPr/>
              <p:nvPr/>
            </p:nvSpPr>
            <p:spPr>
              <a:xfrm>
                <a:off x="8744215" y="2681536"/>
                <a:ext cx="253371" cy="253028"/>
              </a:xfrm>
              <a:custGeom>
                <a:avLst/>
                <a:gdLst>
                  <a:gd name="connsiteX0" fmla="*/ 176669 w 253370"/>
                  <a:gd name="connsiteY0" fmla="*/ 261079 h 253028"/>
                  <a:gd name="connsiteX1" fmla="*/ 145688 w 253370"/>
                  <a:gd name="connsiteY1" fmla="*/ 248773 h 253028"/>
                  <a:gd name="connsiteX2" fmla="*/ 137511 w 253370"/>
                  <a:gd name="connsiteY2" fmla="*/ 229566 h 253028"/>
                  <a:gd name="connsiteX3" fmla="*/ 116896 w 253370"/>
                  <a:gd name="connsiteY3" fmla="*/ 233361 h 253028"/>
                  <a:gd name="connsiteX4" fmla="*/ 2419 w 253370"/>
                  <a:gd name="connsiteY4" fmla="*/ 217719 h 253028"/>
                  <a:gd name="connsiteX5" fmla="*/ 0 w 253370"/>
                  <a:gd name="connsiteY5" fmla="*/ 210703 h 253028"/>
                  <a:gd name="connsiteX6" fmla="*/ 4722 w 253370"/>
                  <a:gd name="connsiteY6" fmla="*/ 53711 h 253028"/>
                  <a:gd name="connsiteX7" fmla="*/ 3916 w 253370"/>
                  <a:gd name="connsiteY7" fmla="*/ 49800 h 253028"/>
                  <a:gd name="connsiteX8" fmla="*/ 15433 w 253370"/>
                  <a:gd name="connsiteY8" fmla="*/ 38299 h 253028"/>
                  <a:gd name="connsiteX9" fmla="*/ 28792 w 253370"/>
                  <a:gd name="connsiteY9" fmla="*/ 38299 h 253028"/>
                  <a:gd name="connsiteX10" fmla="*/ 30520 w 253370"/>
                  <a:gd name="connsiteY10" fmla="*/ 38299 h 253028"/>
                  <a:gd name="connsiteX11" fmla="*/ 134172 w 253370"/>
                  <a:gd name="connsiteY11" fmla="*/ 36689 h 253028"/>
                  <a:gd name="connsiteX12" fmla="*/ 134172 w 253370"/>
                  <a:gd name="connsiteY12" fmla="*/ 31398 h 253028"/>
                  <a:gd name="connsiteX13" fmla="*/ 129219 w 253370"/>
                  <a:gd name="connsiteY13" fmla="*/ 23003 h 253028"/>
                  <a:gd name="connsiteX14" fmla="*/ 16239 w 253370"/>
                  <a:gd name="connsiteY14" fmla="*/ 23693 h 253028"/>
                  <a:gd name="connsiteX15" fmla="*/ 16239 w 253370"/>
                  <a:gd name="connsiteY15" fmla="*/ 23693 h 253028"/>
                  <a:gd name="connsiteX16" fmla="*/ 4722 w 253370"/>
                  <a:gd name="connsiteY16" fmla="*/ 12191 h 253028"/>
                  <a:gd name="connsiteX17" fmla="*/ 16239 w 253370"/>
                  <a:gd name="connsiteY17" fmla="*/ 690 h 253028"/>
                  <a:gd name="connsiteX18" fmla="*/ 129450 w 253370"/>
                  <a:gd name="connsiteY18" fmla="*/ 0 h 253028"/>
                  <a:gd name="connsiteX19" fmla="*/ 157436 w 253370"/>
                  <a:gd name="connsiteY19" fmla="*/ 29903 h 253028"/>
                  <a:gd name="connsiteX20" fmla="*/ 164806 w 253370"/>
                  <a:gd name="connsiteY20" fmla="*/ 134565 h 253028"/>
                  <a:gd name="connsiteX21" fmla="*/ 206843 w 253370"/>
                  <a:gd name="connsiteY21" fmla="*/ 134565 h 253028"/>
                  <a:gd name="connsiteX22" fmla="*/ 252910 w 253370"/>
                  <a:gd name="connsiteY22" fmla="*/ 190806 h 253028"/>
                  <a:gd name="connsiteX23" fmla="*/ 249340 w 253370"/>
                  <a:gd name="connsiteY23" fmla="*/ 205068 h 253028"/>
                  <a:gd name="connsiteX24" fmla="*/ 218935 w 253370"/>
                  <a:gd name="connsiteY24" fmla="*/ 222665 h 253028"/>
                  <a:gd name="connsiteX25" fmla="*/ 205230 w 253370"/>
                  <a:gd name="connsiteY25" fmla="*/ 250498 h 253028"/>
                  <a:gd name="connsiteX26" fmla="*/ 193022 w 253370"/>
                  <a:gd name="connsiteY26" fmla="*/ 258664 h 253028"/>
                  <a:gd name="connsiteX27" fmla="*/ 176669 w 253370"/>
                  <a:gd name="connsiteY27" fmla="*/ 261079 h 253028"/>
                  <a:gd name="connsiteX28" fmla="*/ 177590 w 253370"/>
                  <a:gd name="connsiteY28" fmla="*/ 209783 h 253028"/>
                  <a:gd name="connsiteX29" fmla="*/ 177590 w 253370"/>
                  <a:gd name="connsiteY29" fmla="*/ 209783 h 253028"/>
                  <a:gd name="connsiteX30" fmla="*/ 162042 w 253370"/>
                  <a:gd name="connsiteY30" fmla="*/ 221285 h 253028"/>
                  <a:gd name="connsiteX31" fmla="*/ 164115 w 253370"/>
                  <a:gd name="connsiteY31" fmla="*/ 234166 h 253028"/>
                  <a:gd name="connsiteX32" fmla="*/ 185191 w 253370"/>
                  <a:gd name="connsiteY32" fmla="*/ 237271 h 253028"/>
                  <a:gd name="connsiteX33" fmla="*/ 189568 w 253370"/>
                  <a:gd name="connsiteY33" fmla="*/ 234166 h 253028"/>
                  <a:gd name="connsiteX34" fmla="*/ 196593 w 253370"/>
                  <a:gd name="connsiteY34" fmla="*/ 219560 h 253028"/>
                  <a:gd name="connsiteX35" fmla="*/ 186688 w 253370"/>
                  <a:gd name="connsiteY35" fmla="*/ 212544 h 253028"/>
                  <a:gd name="connsiteX36" fmla="*/ 177590 w 253370"/>
                  <a:gd name="connsiteY36" fmla="*/ 209783 h 253028"/>
                  <a:gd name="connsiteX37" fmla="*/ 23610 w 253370"/>
                  <a:gd name="connsiteY37" fmla="*/ 201387 h 253028"/>
                  <a:gd name="connsiteX38" fmla="*/ 118624 w 253370"/>
                  <a:gd name="connsiteY38" fmla="*/ 210473 h 253028"/>
                  <a:gd name="connsiteX39" fmla="*/ 128759 w 253370"/>
                  <a:gd name="connsiteY39" fmla="*/ 207368 h 253028"/>
                  <a:gd name="connsiteX40" fmla="*/ 173905 w 253370"/>
                  <a:gd name="connsiteY40" fmla="*/ 174474 h 253028"/>
                  <a:gd name="connsiteX41" fmla="*/ 173905 w 253370"/>
                  <a:gd name="connsiteY41" fmla="*/ 174474 h 253028"/>
                  <a:gd name="connsiteX42" fmla="*/ 216517 w 253370"/>
                  <a:gd name="connsiteY42" fmla="*/ 198282 h 253028"/>
                  <a:gd name="connsiteX43" fmla="*/ 228034 w 253370"/>
                  <a:gd name="connsiteY43" fmla="*/ 191841 h 253028"/>
                  <a:gd name="connsiteX44" fmla="*/ 204309 w 253370"/>
                  <a:gd name="connsiteY44" fmla="*/ 156648 h 253028"/>
                  <a:gd name="connsiteX45" fmla="*/ 162964 w 253370"/>
                  <a:gd name="connsiteY45" fmla="*/ 156648 h 253028"/>
                  <a:gd name="connsiteX46" fmla="*/ 154441 w 253370"/>
                  <a:gd name="connsiteY46" fmla="*/ 156648 h 253028"/>
                  <a:gd name="connsiteX47" fmla="*/ 49753 w 253370"/>
                  <a:gd name="connsiteY47" fmla="*/ 158258 h 253028"/>
                  <a:gd name="connsiteX48" fmla="*/ 49753 w 253370"/>
                  <a:gd name="connsiteY48" fmla="*/ 158258 h 253028"/>
                  <a:gd name="connsiteX49" fmla="*/ 41691 w 253370"/>
                  <a:gd name="connsiteY49" fmla="*/ 154922 h 253028"/>
                  <a:gd name="connsiteX50" fmla="*/ 38236 w 253370"/>
                  <a:gd name="connsiteY50" fmla="*/ 146756 h 253028"/>
                  <a:gd name="connsiteX51" fmla="*/ 38236 w 253370"/>
                  <a:gd name="connsiteY51" fmla="*/ 83959 h 253028"/>
                  <a:gd name="connsiteX52" fmla="*/ 41691 w 253370"/>
                  <a:gd name="connsiteY52" fmla="*/ 75793 h 253028"/>
                  <a:gd name="connsiteX53" fmla="*/ 49868 w 253370"/>
                  <a:gd name="connsiteY53" fmla="*/ 72573 h 253028"/>
                  <a:gd name="connsiteX54" fmla="*/ 95936 w 253370"/>
                  <a:gd name="connsiteY54" fmla="*/ 77289 h 253028"/>
                  <a:gd name="connsiteX55" fmla="*/ 127722 w 253370"/>
                  <a:gd name="connsiteY55" fmla="*/ 105237 h 253028"/>
                  <a:gd name="connsiteX56" fmla="*/ 131062 w 253370"/>
                  <a:gd name="connsiteY56" fmla="*/ 133760 h 253028"/>
                  <a:gd name="connsiteX57" fmla="*/ 141888 w 253370"/>
                  <a:gd name="connsiteY57" fmla="*/ 133760 h 253028"/>
                  <a:gd name="connsiteX58" fmla="*/ 136475 w 253370"/>
                  <a:gd name="connsiteY58" fmla="*/ 58771 h 253028"/>
                  <a:gd name="connsiteX59" fmla="*/ 28447 w 253370"/>
                  <a:gd name="connsiteY59" fmla="*/ 61072 h 253028"/>
                  <a:gd name="connsiteX60" fmla="*/ 23610 w 253370"/>
                  <a:gd name="connsiteY60" fmla="*/ 201387 h 253028"/>
                  <a:gd name="connsiteX61" fmla="*/ 60579 w 253370"/>
                  <a:gd name="connsiteY61" fmla="*/ 96726 h 253028"/>
                  <a:gd name="connsiteX62" fmla="*/ 60579 w 253370"/>
                  <a:gd name="connsiteY62" fmla="*/ 136060 h 253028"/>
                  <a:gd name="connsiteX63" fmla="*/ 107568 w 253370"/>
                  <a:gd name="connsiteY63" fmla="*/ 135370 h 253028"/>
                  <a:gd name="connsiteX64" fmla="*/ 105149 w 253370"/>
                  <a:gd name="connsiteY64" fmla="*/ 112367 h 253028"/>
                  <a:gd name="connsiteX65" fmla="*/ 91674 w 253370"/>
                  <a:gd name="connsiteY65" fmla="*/ 100866 h 253028"/>
                  <a:gd name="connsiteX66" fmla="*/ 60579 w 253370"/>
                  <a:gd name="connsiteY66" fmla="*/ 96726 h 253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53370" h="253028">
                    <a:moveTo>
                      <a:pt x="176669" y="261079"/>
                    </a:moveTo>
                    <a:cubicBezTo>
                      <a:pt x="165049" y="261631"/>
                      <a:pt x="153750" y="257146"/>
                      <a:pt x="145688" y="248773"/>
                    </a:cubicBezTo>
                    <a:cubicBezTo>
                      <a:pt x="141047" y="243367"/>
                      <a:pt x="138191" y="236662"/>
                      <a:pt x="137511" y="229566"/>
                    </a:cubicBezTo>
                    <a:cubicBezTo>
                      <a:pt x="131177" y="232878"/>
                      <a:pt x="123991" y="234200"/>
                      <a:pt x="116896" y="233361"/>
                    </a:cubicBezTo>
                    <a:cubicBezTo>
                      <a:pt x="115975" y="233361"/>
                      <a:pt x="10365" y="227725"/>
                      <a:pt x="2419" y="217719"/>
                    </a:cubicBezTo>
                    <a:cubicBezTo>
                      <a:pt x="853" y="215706"/>
                      <a:pt x="12" y="213245"/>
                      <a:pt x="0" y="210703"/>
                    </a:cubicBezTo>
                    <a:cubicBezTo>
                      <a:pt x="0" y="195177"/>
                      <a:pt x="3916" y="76829"/>
                      <a:pt x="4722" y="53711"/>
                    </a:cubicBezTo>
                    <a:cubicBezTo>
                      <a:pt x="4158" y="52480"/>
                      <a:pt x="3882" y="51146"/>
                      <a:pt x="3916" y="49800"/>
                    </a:cubicBezTo>
                    <a:cubicBezTo>
                      <a:pt x="3916" y="43452"/>
                      <a:pt x="9076" y="38299"/>
                      <a:pt x="15433" y="38299"/>
                    </a:cubicBezTo>
                    <a:lnTo>
                      <a:pt x="28792" y="38299"/>
                    </a:lnTo>
                    <a:lnTo>
                      <a:pt x="30520" y="38299"/>
                    </a:lnTo>
                    <a:lnTo>
                      <a:pt x="134172" y="36689"/>
                    </a:lnTo>
                    <a:cubicBezTo>
                      <a:pt x="134172" y="34849"/>
                      <a:pt x="134172" y="33009"/>
                      <a:pt x="134172" y="31398"/>
                    </a:cubicBezTo>
                    <a:cubicBezTo>
                      <a:pt x="133849" y="28006"/>
                      <a:pt x="132030" y="24935"/>
                      <a:pt x="129219" y="23003"/>
                    </a:cubicBezTo>
                    <a:lnTo>
                      <a:pt x="16239" y="23693"/>
                    </a:lnTo>
                    <a:lnTo>
                      <a:pt x="16239" y="23693"/>
                    </a:lnTo>
                    <a:cubicBezTo>
                      <a:pt x="9882" y="23693"/>
                      <a:pt x="4722" y="18540"/>
                      <a:pt x="4722" y="12191"/>
                    </a:cubicBezTo>
                    <a:cubicBezTo>
                      <a:pt x="4722" y="5843"/>
                      <a:pt x="9882" y="690"/>
                      <a:pt x="16239" y="690"/>
                    </a:cubicBezTo>
                    <a:lnTo>
                      <a:pt x="129450" y="0"/>
                    </a:lnTo>
                    <a:cubicBezTo>
                      <a:pt x="144917" y="1644"/>
                      <a:pt x="156837" y="14377"/>
                      <a:pt x="157436" y="29903"/>
                    </a:cubicBezTo>
                    <a:cubicBezTo>
                      <a:pt x="158933" y="53826"/>
                      <a:pt x="163079" y="110412"/>
                      <a:pt x="164806" y="134565"/>
                    </a:cubicBezTo>
                    <a:cubicBezTo>
                      <a:pt x="178626" y="134565"/>
                      <a:pt x="192793" y="134565"/>
                      <a:pt x="206843" y="134565"/>
                    </a:cubicBezTo>
                    <a:cubicBezTo>
                      <a:pt x="211910" y="134565"/>
                      <a:pt x="223658" y="134565"/>
                      <a:pt x="252910" y="190806"/>
                    </a:cubicBezTo>
                    <a:cubicBezTo>
                      <a:pt x="255317" y="195798"/>
                      <a:pt x="253808" y="201790"/>
                      <a:pt x="249340" y="205068"/>
                    </a:cubicBezTo>
                    <a:cubicBezTo>
                      <a:pt x="240150" y="212417"/>
                      <a:pt x="229900" y="218352"/>
                      <a:pt x="218935" y="222665"/>
                    </a:cubicBezTo>
                    <a:cubicBezTo>
                      <a:pt x="217219" y="233085"/>
                      <a:pt x="212451" y="242780"/>
                      <a:pt x="205230" y="250498"/>
                    </a:cubicBezTo>
                    <a:cubicBezTo>
                      <a:pt x="201741" y="254006"/>
                      <a:pt x="197595" y="256778"/>
                      <a:pt x="193022" y="258664"/>
                    </a:cubicBezTo>
                    <a:cubicBezTo>
                      <a:pt x="187760" y="260435"/>
                      <a:pt x="182220" y="261252"/>
                      <a:pt x="176669" y="261079"/>
                    </a:cubicBezTo>
                    <a:close/>
                    <a:moveTo>
                      <a:pt x="177590" y="209783"/>
                    </a:moveTo>
                    <a:lnTo>
                      <a:pt x="177590" y="209783"/>
                    </a:lnTo>
                    <a:cubicBezTo>
                      <a:pt x="170519" y="210025"/>
                      <a:pt x="164334" y="214603"/>
                      <a:pt x="162042" y="221285"/>
                    </a:cubicBezTo>
                    <a:cubicBezTo>
                      <a:pt x="160534" y="225655"/>
                      <a:pt x="161305" y="230486"/>
                      <a:pt x="164115" y="234166"/>
                    </a:cubicBezTo>
                    <a:cubicBezTo>
                      <a:pt x="170138" y="238755"/>
                      <a:pt x="178097" y="239928"/>
                      <a:pt x="185191" y="237271"/>
                    </a:cubicBezTo>
                    <a:cubicBezTo>
                      <a:pt x="186838" y="236524"/>
                      <a:pt x="188324" y="235477"/>
                      <a:pt x="189568" y="234166"/>
                    </a:cubicBezTo>
                    <a:cubicBezTo>
                      <a:pt x="193207" y="230037"/>
                      <a:pt x="195637" y="224976"/>
                      <a:pt x="196593" y="219560"/>
                    </a:cubicBezTo>
                    <a:cubicBezTo>
                      <a:pt x="193022" y="217627"/>
                      <a:pt x="189694" y="215269"/>
                      <a:pt x="186688" y="212544"/>
                    </a:cubicBezTo>
                    <a:cubicBezTo>
                      <a:pt x="183982" y="210773"/>
                      <a:pt x="180827" y="209818"/>
                      <a:pt x="177590" y="209783"/>
                    </a:cubicBezTo>
                    <a:close/>
                    <a:moveTo>
                      <a:pt x="23610" y="201387"/>
                    </a:moveTo>
                    <a:cubicBezTo>
                      <a:pt x="43879" y="204263"/>
                      <a:pt x="97433" y="209438"/>
                      <a:pt x="118624" y="210473"/>
                    </a:cubicBezTo>
                    <a:cubicBezTo>
                      <a:pt x="125764" y="210473"/>
                      <a:pt x="127146" y="209783"/>
                      <a:pt x="128759" y="207368"/>
                    </a:cubicBezTo>
                    <a:cubicBezTo>
                      <a:pt x="136429" y="188805"/>
                      <a:pt x="153866" y="176108"/>
                      <a:pt x="173905" y="174474"/>
                    </a:cubicBezTo>
                    <a:lnTo>
                      <a:pt x="173905" y="174474"/>
                    </a:lnTo>
                    <a:cubicBezTo>
                      <a:pt x="191848" y="171978"/>
                      <a:pt x="209262" y="181709"/>
                      <a:pt x="216517" y="198282"/>
                    </a:cubicBezTo>
                    <a:cubicBezTo>
                      <a:pt x="219626" y="196557"/>
                      <a:pt x="223542" y="194372"/>
                      <a:pt x="228034" y="191841"/>
                    </a:cubicBezTo>
                    <a:cubicBezTo>
                      <a:pt x="221515" y="179236"/>
                      <a:pt x="213557" y="167424"/>
                      <a:pt x="204309" y="156648"/>
                    </a:cubicBezTo>
                    <a:cubicBezTo>
                      <a:pt x="190489" y="156648"/>
                      <a:pt x="176784" y="156648"/>
                      <a:pt x="162964" y="156648"/>
                    </a:cubicBezTo>
                    <a:lnTo>
                      <a:pt x="154441" y="156648"/>
                    </a:lnTo>
                    <a:lnTo>
                      <a:pt x="49753" y="158258"/>
                    </a:lnTo>
                    <a:lnTo>
                      <a:pt x="49753" y="158258"/>
                    </a:lnTo>
                    <a:cubicBezTo>
                      <a:pt x="46736" y="158246"/>
                      <a:pt x="43833" y="157050"/>
                      <a:pt x="41691" y="154922"/>
                    </a:cubicBezTo>
                    <a:cubicBezTo>
                      <a:pt x="39491" y="152772"/>
                      <a:pt x="38248" y="149827"/>
                      <a:pt x="38236" y="146756"/>
                    </a:cubicBezTo>
                    <a:lnTo>
                      <a:pt x="38236" y="83959"/>
                    </a:lnTo>
                    <a:cubicBezTo>
                      <a:pt x="38248" y="80888"/>
                      <a:pt x="39491" y="77944"/>
                      <a:pt x="41691" y="75793"/>
                    </a:cubicBezTo>
                    <a:cubicBezTo>
                      <a:pt x="43949" y="73781"/>
                      <a:pt x="46839" y="72642"/>
                      <a:pt x="49868" y="72573"/>
                    </a:cubicBezTo>
                    <a:cubicBezTo>
                      <a:pt x="65312" y="73044"/>
                      <a:pt x="80710" y="74620"/>
                      <a:pt x="95936" y="77289"/>
                    </a:cubicBezTo>
                    <a:cubicBezTo>
                      <a:pt x="111046" y="79692"/>
                      <a:pt x="123415" y="90573"/>
                      <a:pt x="127722" y="105237"/>
                    </a:cubicBezTo>
                    <a:cubicBezTo>
                      <a:pt x="130187" y="114541"/>
                      <a:pt x="131316" y="124145"/>
                      <a:pt x="131062" y="133760"/>
                    </a:cubicBezTo>
                    <a:lnTo>
                      <a:pt x="141888" y="133760"/>
                    </a:lnTo>
                    <a:cubicBezTo>
                      <a:pt x="140621" y="116508"/>
                      <a:pt x="138317" y="84534"/>
                      <a:pt x="136475" y="58771"/>
                    </a:cubicBezTo>
                    <a:lnTo>
                      <a:pt x="28447" y="61072"/>
                    </a:lnTo>
                    <a:cubicBezTo>
                      <a:pt x="26950" y="91090"/>
                      <a:pt x="24186" y="172174"/>
                      <a:pt x="23610" y="201387"/>
                    </a:cubicBezTo>
                    <a:close/>
                    <a:moveTo>
                      <a:pt x="60579" y="96726"/>
                    </a:moveTo>
                    <a:lnTo>
                      <a:pt x="60579" y="136060"/>
                    </a:lnTo>
                    <a:lnTo>
                      <a:pt x="107568" y="135370"/>
                    </a:lnTo>
                    <a:cubicBezTo>
                      <a:pt x="107833" y="127630"/>
                      <a:pt x="107026" y="119889"/>
                      <a:pt x="105149" y="112367"/>
                    </a:cubicBezTo>
                    <a:cubicBezTo>
                      <a:pt x="103214" y="106283"/>
                      <a:pt x="97985" y="101832"/>
                      <a:pt x="91674" y="100866"/>
                    </a:cubicBezTo>
                    <a:cubicBezTo>
                      <a:pt x="78891" y="98451"/>
                      <a:pt x="68065" y="97301"/>
                      <a:pt x="60579" y="96726"/>
                    </a:cubicBezTo>
                    <a:close/>
                  </a:path>
                </a:pathLst>
              </a:custGeom>
              <a:solidFill>
                <a:srgbClr val="FCD200"/>
              </a:solid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48" name="Freeform 141">
                <a:extLst>
                  <a:ext uri="{FF2B5EF4-FFF2-40B4-BE49-F238E27FC236}">
                    <a16:creationId xmlns:a16="http://schemas.microsoft.com/office/drawing/2014/main" id="{DAED046E-BF7C-4820-8448-392746A0A0CB}"/>
                  </a:ext>
                </a:extLst>
              </p:cNvPr>
              <p:cNvSpPr/>
              <p:nvPr/>
            </p:nvSpPr>
            <p:spPr>
              <a:xfrm>
                <a:off x="8654615" y="2745943"/>
                <a:ext cx="69101" cy="23003"/>
              </a:xfrm>
              <a:custGeom>
                <a:avLst/>
                <a:gdLst>
                  <a:gd name="connsiteX0" fmla="*/ 61615 w 69101"/>
                  <a:gd name="connsiteY0" fmla="*/ 23003 h 23002"/>
                  <a:gd name="connsiteX1" fmla="*/ 11517 w 69101"/>
                  <a:gd name="connsiteY1" fmla="*/ 23003 h 23002"/>
                  <a:gd name="connsiteX2" fmla="*/ 0 w 69101"/>
                  <a:gd name="connsiteY2" fmla="*/ 11501 h 23002"/>
                  <a:gd name="connsiteX3" fmla="*/ 11517 w 69101"/>
                  <a:gd name="connsiteY3" fmla="*/ 0 h 23002"/>
                  <a:gd name="connsiteX4" fmla="*/ 61615 w 69101"/>
                  <a:gd name="connsiteY4" fmla="*/ 0 h 23002"/>
                  <a:gd name="connsiteX5" fmla="*/ 73132 w 69101"/>
                  <a:gd name="connsiteY5" fmla="*/ 11501 h 23002"/>
                  <a:gd name="connsiteX6" fmla="*/ 61615 w 69101"/>
                  <a:gd name="connsiteY6" fmla="*/ 23003 h 23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01" h="23002">
                    <a:moveTo>
                      <a:pt x="61615" y="23003"/>
                    </a:moveTo>
                    <a:lnTo>
                      <a:pt x="11517" y="23003"/>
                    </a:lnTo>
                    <a:cubicBezTo>
                      <a:pt x="5160" y="23003"/>
                      <a:pt x="0" y="17850"/>
                      <a:pt x="0" y="11501"/>
                    </a:cubicBezTo>
                    <a:cubicBezTo>
                      <a:pt x="0" y="5153"/>
                      <a:pt x="5160" y="0"/>
                      <a:pt x="11517" y="0"/>
                    </a:cubicBezTo>
                    <a:lnTo>
                      <a:pt x="61615" y="0"/>
                    </a:lnTo>
                    <a:cubicBezTo>
                      <a:pt x="67972" y="0"/>
                      <a:pt x="73132" y="5153"/>
                      <a:pt x="73132" y="11501"/>
                    </a:cubicBezTo>
                    <a:cubicBezTo>
                      <a:pt x="73132" y="17850"/>
                      <a:pt x="67972" y="23003"/>
                      <a:pt x="61615" y="23003"/>
                    </a:cubicBezTo>
                    <a:close/>
                  </a:path>
                </a:pathLst>
              </a:custGeom>
              <a:solidFill>
                <a:srgbClr val="FCD200"/>
              </a:solid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49" name="Freeform 142">
                <a:extLst>
                  <a:ext uri="{FF2B5EF4-FFF2-40B4-BE49-F238E27FC236}">
                    <a16:creationId xmlns:a16="http://schemas.microsoft.com/office/drawing/2014/main" id="{230CA916-4136-4A7C-AD85-46EEED3590D2}"/>
                  </a:ext>
                </a:extLst>
              </p:cNvPr>
              <p:cNvSpPr/>
              <p:nvPr/>
            </p:nvSpPr>
            <p:spPr>
              <a:xfrm>
                <a:off x="8589544" y="2777802"/>
                <a:ext cx="138202" cy="23003"/>
              </a:xfrm>
              <a:custGeom>
                <a:avLst/>
                <a:gdLst>
                  <a:gd name="connsiteX0" fmla="*/ 126685 w 138202"/>
                  <a:gd name="connsiteY0" fmla="*/ 23003 h 23002"/>
                  <a:gd name="connsiteX1" fmla="*/ 11517 w 138202"/>
                  <a:gd name="connsiteY1" fmla="*/ 23003 h 23002"/>
                  <a:gd name="connsiteX2" fmla="*/ 0 w 138202"/>
                  <a:gd name="connsiteY2" fmla="*/ 11501 h 23002"/>
                  <a:gd name="connsiteX3" fmla="*/ 11517 w 138202"/>
                  <a:gd name="connsiteY3" fmla="*/ 0 h 23002"/>
                  <a:gd name="connsiteX4" fmla="*/ 126685 w 138202"/>
                  <a:gd name="connsiteY4" fmla="*/ 0 h 23002"/>
                  <a:gd name="connsiteX5" fmla="*/ 138202 w 138202"/>
                  <a:gd name="connsiteY5" fmla="*/ 11501 h 23002"/>
                  <a:gd name="connsiteX6" fmla="*/ 126685 w 138202"/>
                  <a:gd name="connsiteY6" fmla="*/ 23003 h 23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202" h="23002">
                    <a:moveTo>
                      <a:pt x="126685" y="23003"/>
                    </a:moveTo>
                    <a:lnTo>
                      <a:pt x="11517" y="23003"/>
                    </a:lnTo>
                    <a:cubicBezTo>
                      <a:pt x="5160" y="23003"/>
                      <a:pt x="0" y="17850"/>
                      <a:pt x="0" y="11501"/>
                    </a:cubicBezTo>
                    <a:cubicBezTo>
                      <a:pt x="0" y="5153"/>
                      <a:pt x="5160" y="0"/>
                      <a:pt x="11517" y="0"/>
                    </a:cubicBezTo>
                    <a:lnTo>
                      <a:pt x="126685" y="0"/>
                    </a:lnTo>
                    <a:cubicBezTo>
                      <a:pt x="133043" y="0"/>
                      <a:pt x="138202" y="5153"/>
                      <a:pt x="138202" y="11501"/>
                    </a:cubicBezTo>
                    <a:cubicBezTo>
                      <a:pt x="138202" y="17850"/>
                      <a:pt x="133043" y="23003"/>
                      <a:pt x="126685" y="23003"/>
                    </a:cubicBezTo>
                    <a:close/>
                  </a:path>
                </a:pathLst>
              </a:custGeom>
              <a:solidFill>
                <a:srgbClr val="FCD200"/>
              </a:solid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50" name="Freeform 143">
                <a:extLst>
                  <a:ext uri="{FF2B5EF4-FFF2-40B4-BE49-F238E27FC236}">
                    <a16:creationId xmlns:a16="http://schemas.microsoft.com/office/drawing/2014/main" id="{69F8F24A-BB3A-4BB4-8189-945C65409B3B}"/>
                  </a:ext>
                </a:extLst>
              </p:cNvPr>
              <p:cNvSpPr/>
              <p:nvPr/>
            </p:nvSpPr>
            <p:spPr>
              <a:xfrm>
                <a:off x="8624095" y="2714085"/>
                <a:ext cx="103652" cy="23003"/>
              </a:xfrm>
              <a:custGeom>
                <a:avLst/>
                <a:gdLst>
                  <a:gd name="connsiteX0" fmla="*/ 92135 w 103651"/>
                  <a:gd name="connsiteY0" fmla="*/ 23003 h 23002"/>
                  <a:gd name="connsiteX1" fmla="*/ 11517 w 103651"/>
                  <a:gd name="connsiteY1" fmla="*/ 23003 h 23002"/>
                  <a:gd name="connsiteX2" fmla="*/ 0 w 103651"/>
                  <a:gd name="connsiteY2" fmla="*/ 11501 h 23002"/>
                  <a:gd name="connsiteX3" fmla="*/ 11517 w 103651"/>
                  <a:gd name="connsiteY3" fmla="*/ 0 h 23002"/>
                  <a:gd name="connsiteX4" fmla="*/ 92135 w 103651"/>
                  <a:gd name="connsiteY4" fmla="*/ 0 h 23002"/>
                  <a:gd name="connsiteX5" fmla="*/ 103652 w 103651"/>
                  <a:gd name="connsiteY5" fmla="*/ 11501 h 23002"/>
                  <a:gd name="connsiteX6" fmla="*/ 92135 w 103651"/>
                  <a:gd name="connsiteY6" fmla="*/ 23003 h 23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651" h="23002">
                    <a:moveTo>
                      <a:pt x="92135" y="23003"/>
                    </a:moveTo>
                    <a:lnTo>
                      <a:pt x="11517" y="23003"/>
                    </a:lnTo>
                    <a:cubicBezTo>
                      <a:pt x="5160" y="23003"/>
                      <a:pt x="0" y="17850"/>
                      <a:pt x="0" y="11501"/>
                    </a:cubicBezTo>
                    <a:cubicBezTo>
                      <a:pt x="0" y="5153"/>
                      <a:pt x="5160" y="0"/>
                      <a:pt x="11517" y="0"/>
                    </a:cubicBezTo>
                    <a:lnTo>
                      <a:pt x="92135" y="0"/>
                    </a:lnTo>
                    <a:cubicBezTo>
                      <a:pt x="98492" y="0"/>
                      <a:pt x="103652" y="5153"/>
                      <a:pt x="103652" y="11501"/>
                    </a:cubicBezTo>
                    <a:cubicBezTo>
                      <a:pt x="103652" y="17850"/>
                      <a:pt x="98492" y="23003"/>
                      <a:pt x="92135" y="23003"/>
                    </a:cubicBezTo>
                    <a:close/>
                  </a:path>
                </a:pathLst>
              </a:custGeom>
              <a:solidFill>
                <a:srgbClr val="FCD200"/>
              </a:solid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51" name="Freeform 144">
                <a:extLst>
                  <a:ext uri="{FF2B5EF4-FFF2-40B4-BE49-F238E27FC236}">
                    <a16:creationId xmlns:a16="http://schemas.microsoft.com/office/drawing/2014/main" id="{DE47C289-34DF-4E9D-AC82-B57B0C766F0D}"/>
                  </a:ext>
                </a:extLst>
              </p:cNvPr>
              <p:cNvSpPr/>
              <p:nvPr/>
            </p:nvSpPr>
            <p:spPr>
              <a:xfrm>
                <a:off x="8654615" y="2809545"/>
                <a:ext cx="69101" cy="23003"/>
              </a:xfrm>
              <a:custGeom>
                <a:avLst/>
                <a:gdLst>
                  <a:gd name="connsiteX0" fmla="*/ 61615 w 69101"/>
                  <a:gd name="connsiteY0" fmla="*/ 23003 h 23002"/>
                  <a:gd name="connsiteX1" fmla="*/ 11517 w 69101"/>
                  <a:gd name="connsiteY1" fmla="*/ 23003 h 23002"/>
                  <a:gd name="connsiteX2" fmla="*/ 0 w 69101"/>
                  <a:gd name="connsiteY2" fmla="*/ 11501 h 23002"/>
                  <a:gd name="connsiteX3" fmla="*/ 11517 w 69101"/>
                  <a:gd name="connsiteY3" fmla="*/ 0 h 23002"/>
                  <a:gd name="connsiteX4" fmla="*/ 61615 w 69101"/>
                  <a:gd name="connsiteY4" fmla="*/ 0 h 23002"/>
                  <a:gd name="connsiteX5" fmla="*/ 73132 w 69101"/>
                  <a:gd name="connsiteY5" fmla="*/ 11501 h 23002"/>
                  <a:gd name="connsiteX6" fmla="*/ 61615 w 69101"/>
                  <a:gd name="connsiteY6" fmla="*/ 23003 h 23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01" h="23002">
                    <a:moveTo>
                      <a:pt x="61615" y="23003"/>
                    </a:moveTo>
                    <a:lnTo>
                      <a:pt x="11517" y="23003"/>
                    </a:lnTo>
                    <a:cubicBezTo>
                      <a:pt x="5160" y="23003"/>
                      <a:pt x="0" y="17850"/>
                      <a:pt x="0" y="11501"/>
                    </a:cubicBezTo>
                    <a:cubicBezTo>
                      <a:pt x="0" y="5153"/>
                      <a:pt x="5160" y="0"/>
                      <a:pt x="11517" y="0"/>
                    </a:cubicBezTo>
                    <a:lnTo>
                      <a:pt x="61615" y="0"/>
                    </a:lnTo>
                    <a:cubicBezTo>
                      <a:pt x="67972" y="0"/>
                      <a:pt x="73132" y="5153"/>
                      <a:pt x="73132" y="11501"/>
                    </a:cubicBezTo>
                    <a:cubicBezTo>
                      <a:pt x="73132" y="17850"/>
                      <a:pt x="67972" y="23003"/>
                      <a:pt x="61615" y="23003"/>
                    </a:cubicBezTo>
                    <a:close/>
                  </a:path>
                </a:pathLst>
              </a:custGeom>
              <a:solidFill>
                <a:srgbClr val="FCD200"/>
              </a:solid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52" name="Freeform 145">
                <a:extLst>
                  <a:ext uri="{FF2B5EF4-FFF2-40B4-BE49-F238E27FC236}">
                    <a16:creationId xmlns:a16="http://schemas.microsoft.com/office/drawing/2014/main" id="{21180B31-D51A-4D8D-A0E4-7E50A723F219}"/>
                  </a:ext>
                </a:extLst>
              </p:cNvPr>
              <p:cNvSpPr/>
              <p:nvPr/>
            </p:nvSpPr>
            <p:spPr>
              <a:xfrm>
                <a:off x="8683407" y="2875908"/>
                <a:ext cx="34551" cy="23003"/>
              </a:xfrm>
              <a:custGeom>
                <a:avLst/>
                <a:gdLst>
                  <a:gd name="connsiteX0" fmla="*/ 32823 w 34550"/>
                  <a:gd name="connsiteY0" fmla="*/ 23003 h 23002"/>
                  <a:gd name="connsiteX1" fmla="*/ 11517 w 34550"/>
                  <a:gd name="connsiteY1" fmla="*/ 23003 h 23002"/>
                  <a:gd name="connsiteX2" fmla="*/ 0 w 34550"/>
                  <a:gd name="connsiteY2" fmla="*/ 11501 h 23002"/>
                  <a:gd name="connsiteX3" fmla="*/ 11517 w 34550"/>
                  <a:gd name="connsiteY3" fmla="*/ 0 h 23002"/>
                  <a:gd name="connsiteX4" fmla="*/ 32823 w 34550"/>
                  <a:gd name="connsiteY4" fmla="*/ 0 h 23002"/>
                  <a:gd name="connsiteX5" fmla="*/ 44340 w 34550"/>
                  <a:gd name="connsiteY5" fmla="*/ 11501 h 23002"/>
                  <a:gd name="connsiteX6" fmla="*/ 32823 w 34550"/>
                  <a:gd name="connsiteY6" fmla="*/ 23003 h 23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50" h="23002">
                    <a:moveTo>
                      <a:pt x="32823" y="23003"/>
                    </a:moveTo>
                    <a:lnTo>
                      <a:pt x="11517" y="23003"/>
                    </a:lnTo>
                    <a:cubicBezTo>
                      <a:pt x="5160" y="23003"/>
                      <a:pt x="0" y="17850"/>
                      <a:pt x="0" y="11501"/>
                    </a:cubicBezTo>
                    <a:cubicBezTo>
                      <a:pt x="0" y="5153"/>
                      <a:pt x="5160" y="0"/>
                      <a:pt x="11517" y="0"/>
                    </a:cubicBezTo>
                    <a:lnTo>
                      <a:pt x="32823" y="0"/>
                    </a:lnTo>
                    <a:cubicBezTo>
                      <a:pt x="39180" y="0"/>
                      <a:pt x="44340" y="5153"/>
                      <a:pt x="44340" y="11501"/>
                    </a:cubicBezTo>
                    <a:cubicBezTo>
                      <a:pt x="44340" y="17850"/>
                      <a:pt x="39180" y="23003"/>
                      <a:pt x="32823" y="23003"/>
                    </a:cubicBezTo>
                    <a:close/>
                  </a:path>
                </a:pathLst>
              </a:custGeom>
              <a:solidFill>
                <a:srgbClr val="FCD200"/>
              </a:solid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53" name="Freeform 146">
                <a:extLst>
                  <a:ext uri="{FF2B5EF4-FFF2-40B4-BE49-F238E27FC236}">
                    <a16:creationId xmlns:a16="http://schemas.microsoft.com/office/drawing/2014/main" id="{50ABADF1-9578-4481-9704-DCF75CD47D64}"/>
                  </a:ext>
                </a:extLst>
              </p:cNvPr>
              <p:cNvSpPr/>
              <p:nvPr/>
            </p:nvSpPr>
            <p:spPr>
              <a:xfrm>
                <a:off x="8624095" y="2843014"/>
                <a:ext cx="103652" cy="23003"/>
              </a:xfrm>
              <a:custGeom>
                <a:avLst/>
                <a:gdLst>
                  <a:gd name="connsiteX0" fmla="*/ 92135 w 103651"/>
                  <a:gd name="connsiteY0" fmla="*/ 23003 h 23002"/>
                  <a:gd name="connsiteX1" fmla="*/ 11517 w 103651"/>
                  <a:gd name="connsiteY1" fmla="*/ 23003 h 23002"/>
                  <a:gd name="connsiteX2" fmla="*/ 0 w 103651"/>
                  <a:gd name="connsiteY2" fmla="*/ 11501 h 23002"/>
                  <a:gd name="connsiteX3" fmla="*/ 11517 w 103651"/>
                  <a:gd name="connsiteY3" fmla="*/ 0 h 23002"/>
                  <a:gd name="connsiteX4" fmla="*/ 92135 w 103651"/>
                  <a:gd name="connsiteY4" fmla="*/ 0 h 23002"/>
                  <a:gd name="connsiteX5" fmla="*/ 103652 w 103651"/>
                  <a:gd name="connsiteY5" fmla="*/ 11501 h 23002"/>
                  <a:gd name="connsiteX6" fmla="*/ 92135 w 103651"/>
                  <a:gd name="connsiteY6" fmla="*/ 23003 h 23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651" h="23002">
                    <a:moveTo>
                      <a:pt x="92135" y="23003"/>
                    </a:moveTo>
                    <a:lnTo>
                      <a:pt x="11517" y="23003"/>
                    </a:lnTo>
                    <a:cubicBezTo>
                      <a:pt x="5160" y="23003"/>
                      <a:pt x="0" y="17850"/>
                      <a:pt x="0" y="11501"/>
                    </a:cubicBezTo>
                    <a:cubicBezTo>
                      <a:pt x="0" y="5153"/>
                      <a:pt x="5160" y="0"/>
                      <a:pt x="11517" y="0"/>
                    </a:cubicBezTo>
                    <a:lnTo>
                      <a:pt x="92135" y="0"/>
                    </a:lnTo>
                    <a:cubicBezTo>
                      <a:pt x="98492" y="0"/>
                      <a:pt x="103652" y="5153"/>
                      <a:pt x="103652" y="11501"/>
                    </a:cubicBezTo>
                    <a:cubicBezTo>
                      <a:pt x="103652" y="17850"/>
                      <a:pt x="98492" y="23003"/>
                      <a:pt x="92135" y="23003"/>
                    </a:cubicBezTo>
                    <a:close/>
                  </a:path>
                </a:pathLst>
              </a:custGeom>
              <a:solidFill>
                <a:srgbClr val="FCD200"/>
              </a:solid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54" name="Freeform 147">
                <a:extLst>
                  <a:ext uri="{FF2B5EF4-FFF2-40B4-BE49-F238E27FC236}">
                    <a16:creationId xmlns:a16="http://schemas.microsoft.com/office/drawing/2014/main" id="{7E7CFC3B-382C-4E3E-90F2-6F88F0DB7B45}"/>
                  </a:ext>
                </a:extLst>
              </p:cNvPr>
              <p:cNvSpPr/>
              <p:nvPr/>
            </p:nvSpPr>
            <p:spPr>
              <a:xfrm>
                <a:off x="8683407" y="2682341"/>
                <a:ext cx="34551" cy="23003"/>
              </a:xfrm>
              <a:custGeom>
                <a:avLst/>
                <a:gdLst>
                  <a:gd name="connsiteX0" fmla="*/ 32823 w 34550"/>
                  <a:gd name="connsiteY0" fmla="*/ 23003 h 23002"/>
                  <a:gd name="connsiteX1" fmla="*/ 11517 w 34550"/>
                  <a:gd name="connsiteY1" fmla="*/ 23003 h 23002"/>
                  <a:gd name="connsiteX2" fmla="*/ 0 w 34550"/>
                  <a:gd name="connsiteY2" fmla="*/ 11501 h 23002"/>
                  <a:gd name="connsiteX3" fmla="*/ 11517 w 34550"/>
                  <a:gd name="connsiteY3" fmla="*/ 0 h 23002"/>
                  <a:gd name="connsiteX4" fmla="*/ 32823 w 34550"/>
                  <a:gd name="connsiteY4" fmla="*/ 0 h 23002"/>
                  <a:gd name="connsiteX5" fmla="*/ 44340 w 34550"/>
                  <a:gd name="connsiteY5" fmla="*/ 11501 h 23002"/>
                  <a:gd name="connsiteX6" fmla="*/ 32823 w 34550"/>
                  <a:gd name="connsiteY6" fmla="*/ 23003 h 23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50" h="23002">
                    <a:moveTo>
                      <a:pt x="32823" y="23003"/>
                    </a:moveTo>
                    <a:lnTo>
                      <a:pt x="11517" y="23003"/>
                    </a:lnTo>
                    <a:cubicBezTo>
                      <a:pt x="5160" y="23003"/>
                      <a:pt x="0" y="17850"/>
                      <a:pt x="0" y="11501"/>
                    </a:cubicBezTo>
                    <a:cubicBezTo>
                      <a:pt x="0" y="5153"/>
                      <a:pt x="5160" y="0"/>
                      <a:pt x="11517" y="0"/>
                    </a:cubicBezTo>
                    <a:lnTo>
                      <a:pt x="32823" y="0"/>
                    </a:lnTo>
                    <a:cubicBezTo>
                      <a:pt x="39180" y="0"/>
                      <a:pt x="44340" y="5153"/>
                      <a:pt x="44340" y="11501"/>
                    </a:cubicBezTo>
                    <a:cubicBezTo>
                      <a:pt x="44340" y="17850"/>
                      <a:pt x="39180" y="23003"/>
                      <a:pt x="32823" y="23003"/>
                    </a:cubicBezTo>
                    <a:close/>
                  </a:path>
                </a:pathLst>
              </a:custGeom>
              <a:solidFill>
                <a:srgbClr val="FCD200"/>
              </a:solidFill>
              <a:ln w="115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grpSp>
        <p:grpSp>
          <p:nvGrpSpPr>
            <p:cNvPr id="39" name="Group 38">
              <a:extLst>
                <a:ext uri="{FF2B5EF4-FFF2-40B4-BE49-F238E27FC236}">
                  <a16:creationId xmlns:a16="http://schemas.microsoft.com/office/drawing/2014/main" id="{D7B7B6A1-ADDA-4A5D-8534-D8925612D66B}"/>
                </a:ext>
              </a:extLst>
            </p:cNvPr>
            <p:cNvGrpSpPr/>
            <p:nvPr/>
          </p:nvGrpSpPr>
          <p:grpSpPr>
            <a:xfrm>
              <a:off x="8153326" y="4836266"/>
              <a:ext cx="552212" cy="541922"/>
              <a:chOff x="8513946" y="4973164"/>
              <a:chExt cx="552212" cy="541922"/>
            </a:xfrm>
          </p:grpSpPr>
          <p:sp>
            <p:nvSpPr>
              <p:cNvPr id="40" name="Freeform 9">
                <a:extLst>
                  <a:ext uri="{FF2B5EF4-FFF2-40B4-BE49-F238E27FC236}">
                    <a16:creationId xmlns:a16="http://schemas.microsoft.com/office/drawing/2014/main" id="{378A0EB0-FA55-4C6E-B6CB-639C82BC1CF3}"/>
                  </a:ext>
                </a:extLst>
              </p:cNvPr>
              <p:cNvSpPr/>
              <p:nvPr/>
            </p:nvSpPr>
            <p:spPr>
              <a:xfrm>
                <a:off x="8513946" y="4973164"/>
                <a:ext cx="552212" cy="541922"/>
              </a:xfrm>
              <a:custGeom>
                <a:avLst/>
                <a:gdLst>
                  <a:gd name="connsiteX0" fmla="*/ 276106 w 552211"/>
                  <a:gd name="connsiteY0" fmla="*/ 541922 h 541921"/>
                  <a:gd name="connsiteX1" fmla="*/ 0 w 552211"/>
                  <a:gd name="connsiteY1" fmla="*/ 270961 h 541921"/>
                  <a:gd name="connsiteX2" fmla="*/ 276106 w 552211"/>
                  <a:gd name="connsiteY2" fmla="*/ 0 h 541921"/>
                  <a:gd name="connsiteX3" fmla="*/ 552212 w 552211"/>
                  <a:gd name="connsiteY3" fmla="*/ 270961 h 541921"/>
                  <a:gd name="connsiteX4" fmla="*/ 276106 w 552211"/>
                  <a:gd name="connsiteY4" fmla="*/ 541922 h 541921"/>
                  <a:gd name="connsiteX5" fmla="*/ 276106 w 552211"/>
                  <a:gd name="connsiteY5" fmla="*/ 22580 h 541921"/>
                  <a:gd name="connsiteX6" fmla="*/ 23009 w 552211"/>
                  <a:gd name="connsiteY6" fmla="*/ 270961 h 541921"/>
                  <a:gd name="connsiteX7" fmla="*/ 276106 w 552211"/>
                  <a:gd name="connsiteY7" fmla="*/ 519342 h 541921"/>
                  <a:gd name="connsiteX8" fmla="*/ 529203 w 552211"/>
                  <a:gd name="connsiteY8" fmla="*/ 270961 h 541921"/>
                  <a:gd name="connsiteX9" fmla="*/ 276106 w 552211"/>
                  <a:gd name="connsiteY9" fmla="*/ 22580 h 541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211" h="541921">
                    <a:moveTo>
                      <a:pt x="276106" y="541922"/>
                    </a:moveTo>
                    <a:cubicBezTo>
                      <a:pt x="123615" y="541922"/>
                      <a:pt x="0" y="420608"/>
                      <a:pt x="0" y="270961"/>
                    </a:cubicBezTo>
                    <a:cubicBezTo>
                      <a:pt x="0" y="121314"/>
                      <a:pt x="123615" y="0"/>
                      <a:pt x="276106" y="0"/>
                    </a:cubicBezTo>
                    <a:cubicBezTo>
                      <a:pt x="428597" y="0"/>
                      <a:pt x="552212" y="121314"/>
                      <a:pt x="552212" y="270961"/>
                    </a:cubicBezTo>
                    <a:cubicBezTo>
                      <a:pt x="552212" y="420608"/>
                      <a:pt x="428597" y="541922"/>
                      <a:pt x="276106" y="541922"/>
                    </a:cubicBezTo>
                    <a:close/>
                    <a:moveTo>
                      <a:pt x="276106" y="22580"/>
                    </a:moveTo>
                    <a:cubicBezTo>
                      <a:pt x="136327" y="22580"/>
                      <a:pt x="23009" y="133784"/>
                      <a:pt x="23009" y="270961"/>
                    </a:cubicBezTo>
                    <a:cubicBezTo>
                      <a:pt x="23009" y="408138"/>
                      <a:pt x="136327" y="519342"/>
                      <a:pt x="276106" y="519342"/>
                    </a:cubicBezTo>
                    <a:cubicBezTo>
                      <a:pt x="415884" y="519342"/>
                      <a:pt x="529203" y="408138"/>
                      <a:pt x="529203" y="270961"/>
                    </a:cubicBezTo>
                    <a:cubicBezTo>
                      <a:pt x="529203" y="133784"/>
                      <a:pt x="415884" y="22580"/>
                      <a:pt x="276106" y="22580"/>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41" name="Freeform 21">
                <a:extLst>
                  <a:ext uri="{FF2B5EF4-FFF2-40B4-BE49-F238E27FC236}">
                    <a16:creationId xmlns:a16="http://schemas.microsoft.com/office/drawing/2014/main" id="{A424F54F-912C-4985-A957-863ACE251352}"/>
                  </a:ext>
                </a:extLst>
              </p:cNvPr>
              <p:cNvSpPr/>
              <p:nvPr/>
            </p:nvSpPr>
            <p:spPr>
              <a:xfrm>
                <a:off x="8859585" y="5140756"/>
                <a:ext cx="57522" cy="203221"/>
              </a:xfrm>
              <a:custGeom>
                <a:avLst/>
                <a:gdLst>
                  <a:gd name="connsiteX0" fmla="*/ 11574 w 57522"/>
                  <a:gd name="connsiteY0" fmla="*/ 206786 h 203220"/>
                  <a:gd name="connsiteX1" fmla="*/ 0 w 57522"/>
                  <a:gd name="connsiteY1" fmla="*/ 195561 h 203220"/>
                  <a:gd name="connsiteX2" fmla="*/ 3405 w 57522"/>
                  <a:gd name="connsiteY2" fmla="*/ 187480 h 203220"/>
                  <a:gd name="connsiteX3" fmla="*/ 3405 w 57522"/>
                  <a:gd name="connsiteY3" fmla="*/ 19258 h 203220"/>
                  <a:gd name="connsiteX4" fmla="*/ 3405 w 57522"/>
                  <a:gd name="connsiteY4" fmla="*/ 3339 h 203220"/>
                  <a:gd name="connsiteX5" fmla="*/ 19673 w 57522"/>
                  <a:gd name="connsiteY5" fmla="*/ 3274 h 203220"/>
                  <a:gd name="connsiteX6" fmla="*/ 19742 w 57522"/>
                  <a:gd name="connsiteY6" fmla="*/ 3339 h 203220"/>
                  <a:gd name="connsiteX7" fmla="*/ 19742 w 57522"/>
                  <a:gd name="connsiteY7" fmla="*/ 203399 h 203220"/>
                  <a:gd name="connsiteX8" fmla="*/ 11574 w 57522"/>
                  <a:gd name="connsiteY8" fmla="*/ 206786 h 20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22" h="203220">
                    <a:moveTo>
                      <a:pt x="11574" y="206786"/>
                    </a:moveTo>
                    <a:cubicBezTo>
                      <a:pt x="5223" y="206822"/>
                      <a:pt x="35" y="201797"/>
                      <a:pt x="0" y="195561"/>
                    </a:cubicBezTo>
                    <a:cubicBezTo>
                      <a:pt x="-11" y="192529"/>
                      <a:pt x="1208" y="189616"/>
                      <a:pt x="3405" y="187480"/>
                    </a:cubicBezTo>
                    <a:cubicBezTo>
                      <a:pt x="50712" y="141016"/>
                      <a:pt x="50712" y="65723"/>
                      <a:pt x="3405" y="19258"/>
                    </a:cubicBezTo>
                    <a:cubicBezTo>
                      <a:pt x="-1058" y="14855"/>
                      <a:pt x="-1058" y="7743"/>
                      <a:pt x="3405" y="3339"/>
                    </a:cubicBezTo>
                    <a:cubicBezTo>
                      <a:pt x="7881" y="-1087"/>
                      <a:pt x="15163" y="-1117"/>
                      <a:pt x="19673" y="3274"/>
                    </a:cubicBezTo>
                    <a:cubicBezTo>
                      <a:pt x="19696" y="3295"/>
                      <a:pt x="19719" y="3318"/>
                      <a:pt x="19742" y="3339"/>
                    </a:cubicBezTo>
                    <a:cubicBezTo>
                      <a:pt x="75906" y="58636"/>
                      <a:pt x="75906" y="148103"/>
                      <a:pt x="19742" y="203399"/>
                    </a:cubicBezTo>
                    <a:cubicBezTo>
                      <a:pt x="17590" y="205554"/>
                      <a:pt x="14645" y="206774"/>
                      <a:pt x="11574" y="206786"/>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42" name="Freeform 22">
                <a:extLst>
                  <a:ext uri="{FF2B5EF4-FFF2-40B4-BE49-F238E27FC236}">
                    <a16:creationId xmlns:a16="http://schemas.microsoft.com/office/drawing/2014/main" id="{3678E0F5-F8BF-40F4-81E9-405CDAFA58B0}"/>
                  </a:ext>
                </a:extLst>
              </p:cNvPr>
              <p:cNvSpPr/>
              <p:nvPr/>
            </p:nvSpPr>
            <p:spPr>
              <a:xfrm>
                <a:off x="8820700" y="5179144"/>
                <a:ext cx="34513" cy="124190"/>
              </a:xfrm>
              <a:custGeom>
                <a:avLst/>
                <a:gdLst>
                  <a:gd name="connsiteX0" fmla="*/ 11573 w 34513"/>
                  <a:gd name="connsiteY0" fmla="*/ 130011 h 124190"/>
                  <a:gd name="connsiteX1" fmla="*/ 0 w 34513"/>
                  <a:gd name="connsiteY1" fmla="*/ 118787 h 124190"/>
                  <a:gd name="connsiteX2" fmla="*/ 3405 w 34513"/>
                  <a:gd name="connsiteY2" fmla="*/ 110705 h 124190"/>
                  <a:gd name="connsiteX3" fmla="*/ 3532 w 34513"/>
                  <a:gd name="connsiteY3" fmla="*/ 19377 h 124190"/>
                  <a:gd name="connsiteX4" fmla="*/ 3405 w 34513"/>
                  <a:gd name="connsiteY4" fmla="*/ 19256 h 124190"/>
                  <a:gd name="connsiteX5" fmla="*/ 3463 w 34513"/>
                  <a:gd name="connsiteY5" fmla="*/ 3281 h 124190"/>
                  <a:gd name="connsiteX6" fmla="*/ 19742 w 34513"/>
                  <a:gd name="connsiteY6" fmla="*/ 3337 h 124190"/>
                  <a:gd name="connsiteX7" fmla="*/ 19742 w 34513"/>
                  <a:gd name="connsiteY7" fmla="*/ 126624 h 124190"/>
                  <a:gd name="connsiteX8" fmla="*/ 11573 w 34513"/>
                  <a:gd name="connsiteY8" fmla="*/ 130011 h 124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13" h="124190">
                    <a:moveTo>
                      <a:pt x="11573" y="130011"/>
                    </a:moveTo>
                    <a:cubicBezTo>
                      <a:pt x="5223" y="130047"/>
                      <a:pt x="34" y="125022"/>
                      <a:pt x="0" y="118787"/>
                    </a:cubicBezTo>
                    <a:cubicBezTo>
                      <a:pt x="-12" y="115754"/>
                      <a:pt x="1208" y="112841"/>
                      <a:pt x="3405" y="110705"/>
                    </a:cubicBezTo>
                    <a:cubicBezTo>
                      <a:pt x="29141" y="85519"/>
                      <a:pt x="29198" y="44630"/>
                      <a:pt x="3532" y="19377"/>
                    </a:cubicBezTo>
                    <a:cubicBezTo>
                      <a:pt x="3486" y="19336"/>
                      <a:pt x="3451" y="19297"/>
                      <a:pt x="3405" y="19256"/>
                    </a:cubicBezTo>
                    <a:cubicBezTo>
                      <a:pt x="-1070" y="14829"/>
                      <a:pt x="-1047" y="7677"/>
                      <a:pt x="3463" y="3281"/>
                    </a:cubicBezTo>
                    <a:cubicBezTo>
                      <a:pt x="7973" y="-1116"/>
                      <a:pt x="15266" y="-1090"/>
                      <a:pt x="19742" y="3337"/>
                    </a:cubicBezTo>
                    <a:cubicBezTo>
                      <a:pt x="54381" y="37404"/>
                      <a:pt x="54381" y="92558"/>
                      <a:pt x="19742" y="126624"/>
                    </a:cubicBezTo>
                    <a:cubicBezTo>
                      <a:pt x="17590" y="128780"/>
                      <a:pt x="14645" y="129999"/>
                      <a:pt x="11573" y="130011"/>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43" name="Freeform 23">
                <a:extLst>
                  <a:ext uri="{FF2B5EF4-FFF2-40B4-BE49-F238E27FC236}">
                    <a16:creationId xmlns:a16="http://schemas.microsoft.com/office/drawing/2014/main" id="{19E1D4D9-8ED6-416A-8B02-6371BC625EC3}"/>
                  </a:ext>
                </a:extLst>
              </p:cNvPr>
              <p:cNvSpPr/>
              <p:nvPr/>
            </p:nvSpPr>
            <p:spPr>
              <a:xfrm>
                <a:off x="8898470" y="5106265"/>
                <a:ext cx="69026" cy="270961"/>
              </a:xfrm>
              <a:custGeom>
                <a:avLst/>
                <a:gdLst>
                  <a:gd name="connsiteX0" fmla="*/ 11573 w 69026"/>
                  <a:gd name="connsiteY0" fmla="*/ 275599 h 270960"/>
                  <a:gd name="connsiteX1" fmla="*/ 0 w 69026"/>
                  <a:gd name="connsiteY1" fmla="*/ 264374 h 270960"/>
                  <a:gd name="connsiteX2" fmla="*/ 3405 w 69026"/>
                  <a:gd name="connsiteY2" fmla="*/ 256293 h 270960"/>
                  <a:gd name="connsiteX3" fmla="*/ 3877 w 69026"/>
                  <a:gd name="connsiteY3" fmla="*/ 19669 h 270960"/>
                  <a:gd name="connsiteX4" fmla="*/ 3405 w 69026"/>
                  <a:gd name="connsiteY4" fmla="*/ 19202 h 270960"/>
                  <a:gd name="connsiteX5" fmla="*/ 3405 w 69026"/>
                  <a:gd name="connsiteY5" fmla="*/ 3283 h 270960"/>
                  <a:gd name="connsiteX6" fmla="*/ 19627 w 69026"/>
                  <a:gd name="connsiteY6" fmla="*/ 3283 h 270960"/>
                  <a:gd name="connsiteX7" fmla="*/ 20098 w 69026"/>
                  <a:gd name="connsiteY7" fmla="*/ 271521 h 270960"/>
                  <a:gd name="connsiteX8" fmla="*/ 19627 w 69026"/>
                  <a:gd name="connsiteY8" fmla="*/ 271986 h 270960"/>
                  <a:gd name="connsiteX9" fmla="*/ 11573 w 69026"/>
                  <a:gd name="connsiteY9" fmla="*/ 275599 h 27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026" h="270960">
                    <a:moveTo>
                      <a:pt x="11573" y="275599"/>
                    </a:moveTo>
                    <a:cubicBezTo>
                      <a:pt x="5223" y="275635"/>
                      <a:pt x="35" y="270610"/>
                      <a:pt x="0" y="264374"/>
                    </a:cubicBezTo>
                    <a:cubicBezTo>
                      <a:pt x="-11" y="261342"/>
                      <a:pt x="1208" y="258429"/>
                      <a:pt x="3405" y="256293"/>
                    </a:cubicBezTo>
                    <a:cubicBezTo>
                      <a:pt x="70119" y="191080"/>
                      <a:pt x="70338" y="85140"/>
                      <a:pt x="3877" y="19669"/>
                    </a:cubicBezTo>
                    <a:cubicBezTo>
                      <a:pt x="3728" y="19513"/>
                      <a:pt x="3566" y="19358"/>
                      <a:pt x="3405" y="19202"/>
                    </a:cubicBezTo>
                    <a:cubicBezTo>
                      <a:pt x="-1058" y="14799"/>
                      <a:pt x="-1058" y="7686"/>
                      <a:pt x="3405" y="3283"/>
                    </a:cubicBezTo>
                    <a:cubicBezTo>
                      <a:pt x="7892" y="-1094"/>
                      <a:pt x="15140" y="-1094"/>
                      <a:pt x="19627" y="3283"/>
                    </a:cubicBezTo>
                    <a:cubicBezTo>
                      <a:pt x="95234" y="77226"/>
                      <a:pt x="95452" y="197320"/>
                      <a:pt x="20098" y="271521"/>
                    </a:cubicBezTo>
                    <a:cubicBezTo>
                      <a:pt x="19949" y="271675"/>
                      <a:pt x="19788" y="271831"/>
                      <a:pt x="19627" y="271986"/>
                    </a:cubicBezTo>
                    <a:cubicBezTo>
                      <a:pt x="17544" y="274196"/>
                      <a:pt x="14645" y="275497"/>
                      <a:pt x="11573" y="275599"/>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44" name="Freeform 24">
                <a:extLst>
                  <a:ext uri="{FF2B5EF4-FFF2-40B4-BE49-F238E27FC236}">
                    <a16:creationId xmlns:a16="http://schemas.microsoft.com/office/drawing/2014/main" id="{FEDA8A3B-125A-4BD0-B59A-B72DC913E077}"/>
                  </a:ext>
                </a:extLst>
              </p:cNvPr>
              <p:cNvSpPr/>
              <p:nvPr/>
            </p:nvSpPr>
            <p:spPr>
              <a:xfrm>
                <a:off x="8743672" y="5211227"/>
                <a:ext cx="57522" cy="56450"/>
              </a:xfrm>
              <a:custGeom>
                <a:avLst/>
                <a:gdLst>
                  <a:gd name="connsiteX0" fmla="*/ 33610 w 57522"/>
                  <a:gd name="connsiteY0" fmla="*/ 65865 h 56450"/>
                  <a:gd name="connsiteX1" fmla="*/ 17 w 57522"/>
                  <a:gd name="connsiteY1" fmla="*/ 34479 h 56450"/>
                  <a:gd name="connsiteX2" fmla="*/ 10889 w 57522"/>
                  <a:gd name="connsiteY2" fmla="*/ 22568 h 56450"/>
                  <a:gd name="connsiteX3" fmla="*/ 23026 w 57522"/>
                  <a:gd name="connsiteY3" fmla="*/ 33237 h 56450"/>
                  <a:gd name="connsiteX4" fmla="*/ 34070 w 57522"/>
                  <a:gd name="connsiteY4" fmla="*/ 43148 h 56450"/>
                  <a:gd name="connsiteX5" fmla="*/ 44171 w 57522"/>
                  <a:gd name="connsiteY5" fmla="*/ 32308 h 56450"/>
                  <a:gd name="connsiteX6" fmla="*/ 40743 w 57522"/>
                  <a:gd name="connsiteY6" fmla="*/ 25108 h 56450"/>
                  <a:gd name="connsiteX7" fmla="*/ 33035 w 57522"/>
                  <a:gd name="connsiteY7" fmla="*/ 22511 h 56450"/>
                  <a:gd name="connsiteX8" fmla="*/ 20518 w 57522"/>
                  <a:gd name="connsiteY8" fmla="*/ 12310 h 56450"/>
                  <a:gd name="connsiteX9" fmla="*/ 20495 w 57522"/>
                  <a:gd name="connsiteY9" fmla="*/ 12012 h 56450"/>
                  <a:gd name="connsiteX10" fmla="*/ 30619 w 57522"/>
                  <a:gd name="connsiteY10" fmla="*/ 44 h 56450"/>
                  <a:gd name="connsiteX11" fmla="*/ 31654 w 57522"/>
                  <a:gd name="connsiteY11" fmla="*/ 11334 h 56450"/>
                  <a:gd name="connsiteX12" fmla="*/ 30734 w 57522"/>
                  <a:gd name="connsiteY12" fmla="*/ 44 h 56450"/>
                  <a:gd name="connsiteX13" fmla="*/ 32000 w 57522"/>
                  <a:gd name="connsiteY13" fmla="*/ 44 h 56450"/>
                  <a:gd name="connsiteX14" fmla="*/ 67318 w 57522"/>
                  <a:gd name="connsiteY14" fmla="*/ 31318 h 56450"/>
                  <a:gd name="connsiteX15" fmla="*/ 35451 w 57522"/>
                  <a:gd name="connsiteY15" fmla="*/ 65978 h 5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522" h="56450">
                    <a:moveTo>
                      <a:pt x="33610" y="65865"/>
                    </a:moveTo>
                    <a:cubicBezTo>
                      <a:pt x="15721" y="65771"/>
                      <a:pt x="995" y="52015"/>
                      <a:pt x="17" y="34479"/>
                    </a:cubicBezTo>
                    <a:cubicBezTo>
                      <a:pt x="-328" y="28243"/>
                      <a:pt x="4538" y="22911"/>
                      <a:pt x="10889" y="22568"/>
                    </a:cubicBezTo>
                    <a:cubicBezTo>
                      <a:pt x="17239" y="22225"/>
                      <a:pt x="22681" y="27001"/>
                      <a:pt x="23026" y="33237"/>
                    </a:cubicBezTo>
                    <a:cubicBezTo>
                      <a:pt x="23291" y="38968"/>
                      <a:pt x="28238" y="43406"/>
                      <a:pt x="34070" y="43148"/>
                    </a:cubicBezTo>
                    <a:cubicBezTo>
                      <a:pt x="39915" y="42892"/>
                      <a:pt x="44436" y="38039"/>
                      <a:pt x="44171" y="32308"/>
                    </a:cubicBezTo>
                    <a:cubicBezTo>
                      <a:pt x="44045" y="29556"/>
                      <a:pt x="42814" y="26966"/>
                      <a:pt x="40743" y="25108"/>
                    </a:cubicBezTo>
                    <a:cubicBezTo>
                      <a:pt x="38626" y="23278"/>
                      <a:pt x="35853" y="22345"/>
                      <a:pt x="33035" y="22511"/>
                    </a:cubicBezTo>
                    <a:cubicBezTo>
                      <a:pt x="26707" y="23086"/>
                      <a:pt x="21105" y="18519"/>
                      <a:pt x="20518" y="12310"/>
                    </a:cubicBezTo>
                    <a:cubicBezTo>
                      <a:pt x="20507" y="12210"/>
                      <a:pt x="20507" y="12111"/>
                      <a:pt x="20495" y="12012"/>
                    </a:cubicBezTo>
                    <a:cubicBezTo>
                      <a:pt x="20081" y="6013"/>
                      <a:pt x="24533" y="752"/>
                      <a:pt x="30619" y="44"/>
                    </a:cubicBezTo>
                    <a:lnTo>
                      <a:pt x="31654" y="11334"/>
                    </a:lnTo>
                    <a:lnTo>
                      <a:pt x="30734" y="44"/>
                    </a:lnTo>
                    <a:lnTo>
                      <a:pt x="32000" y="44"/>
                    </a:lnTo>
                    <a:cubicBezTo>
                      <a:pt x="50556" y="-891"/>
                      <a:pt x="66363" y="13110"/>
                      <a:pt x="67318" y="31318"/>
                    </a:cubicBezTo>
                    <a:cubicBezTo>
                      <a:pt x="68273" y="49525"/>
                      <a:pt x="54007" y="65043"/>
                      <a:pt x="35451" y="65978"/>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sp>
            <p:nvSpPr>
              <p:cNvPr id="45" name="Freeform 25">
                <a:extLst>
                  <a:ext uri="{FF2B5EF4-FFF2-40B4-BE49-F238E27FC236}">
                    <a16:creationId xmlns:a16="http://schemas.microsoft.com/office/drawing/2014/main" id="{2E29C2D5-135A-4803-BF32-1C04F06BE0F9}"/>
                  </a:ext>
                </a:extLst>
              </p:cNvPr>
              <p:cNvSpPr/>
              <p:nvPr/>
            </p:nvSpPr>
            <p:spPr>
              <a:xfrm>
                <a:off x="8596849" y="5171838"/>
                <a:ext cx="161062" cy="135480"/>
              </a:xfrm>
              <a:custGeom>
                <a:avLst/>
                <a:gdLst>
                  <a:gd name="connsiteX0" fmla="*/ 88513 w 161061"/>
                  <a:gd name="connsiteY0" fmla="*/ 140027 h 135480"/>
                  <a:gd name="connsiteX1" fmla="*/ 77584 w 161061"/>
                  <a:gd name="connsiteY1" fmla="*/ 132012 h 135480"/>
                  <a:gd name="connsiteX2" fmla="*/ 75628 w 161061"/>
                  <a:gd name="connsiteY2" fmla="*/ 125802 h 135480"/>
                  <a:gd name="connsiteX3" fmla="*/ 49398 w 161061"/>
                  <a:gd name="connsiteY3" fmla="*/ 45417 h 135480"/>
                  <a:gd name="connsiteX4" fmla="*/ 20292 w 161061"/>
                  <a:gd name="connsiteY4" fmla="*/ 85045 h 135480"/>
                  <a:gd name="connsiteX5" fmla="*/ 4082 w 161061"/>
                  <a:gd name="connsiteY5" fmla="*/ 86384 h 135480"/>
                  <a:gd name="connsiteX6" fmla="*/ 2713 w 161061"/>
                  <a:gd name="connsiteY6" fmla="*/ 70474 h 135480"/>
                  <a:gd name="connsiteX7" fmla="*/ 3955 w 161061"/>
                  <a:gd name="connsiteY7" fmla="*/ 69239 h 135480"/>
                  <a:gd name="connsiteX8" fmla="*/ 38469 w 161061"/>
                  <a:gd name="connsiteY8" fmla="*/ 11547 h 135480"/>
                  <a:gd name="connsiteX9" fmla="*/ 48937 w 161061"/>
                  <a:gd name="connsiteY9" fmla="*/ 3531 h 135480"/>
                  <a:gd name="connsiteX10" fmla="*/ 60442 w 161061"/>
                  <a:gd name="connsiteY10" fmla="*/ 10531 h 135480"/>
                  <a:gd name="connsiteX11" fmla="*/ 86787 w 161061"/>
                  <a:gd name="connsiteY11" fmla="*/ 84480 h 135480"/>
                  <a:gd name="connsiteX12" fmla="*/ 114628 w 161061"/>
                  <a:gd name="connsiteY12" fmla="*/ 7031 h 135480"/>
                  <a:gd name="connsiteX13" fmla="*/ 126132 w 161061"/>
                  <a:gd name="connsiteY13" fmla="*/ 31 h 135480"/>
                  <a:gd name="connsiteX14" fmla="*/ 136256 w 161061"/>
                  <a:gd name="connsiteY14" fmla="*/ 9289 h 135480"/>
                  <a:gd name="connsiteX15" fmla="*/ 166398 w 161061"/>
                  <a:gd name="connsiteY15" fmla="*/ 65852 h 135480"/>
                  <a:gd name="connsiteX16" fmla="*/ 166467 w 161061"/>
                  <a:gd name="connsiteY16" fmla="*/ 81818 h 135480"/>
                  <a:gd name="connsiteX17" fmla="*/ 151097 w 161061"/>
                  <a:gd name="connsiteY17" fmla="*/ 82674 h 135480"/>
                  <a:gd name="connsiteX18" fmla="*/ 124176 w 161061"/>
                  <a:gd name="connsiteY18" fmla="*/ 45304 h 135480"/>
                  <a:gd name="connsiteX19" fmla="*/ 100247 w 161061"/>
                  <a:gd name="connsiteY19" fmla="*/ 130092 h 135480"/>
                  <a:gd name="connsiteX20" fmla="*/ 89663 w 161061"/>
                  <a:gd name="connsiteY20" fmla="*/ 139576 h 135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1061" h="135480">
                    <a:moveTo>
                      <a:pt x="88513" y="140027"/>
                    </a:moveTo>
                    <a:cubicBezTo>
                      <a:pt x="83474" y="139993"/>
                      <a:pt x="79045" y="136744"/>
                      <a:pt x="77584" y="132012"/>
                    </a:cubicBezTo>
                    <a:lnTo>
                      <a:pt x="75628" y="125802"/>
                    </a:lnTo>
                    <a:cubicBezTo>
                      <a:pt x="66999" y="98029"/>
                      <a:pt x="58831" y="71384"/>
                      <a:pt x="49398" y="45417"/>
                    </a:cubicBezTo>
                    <a:cubicBezTo>
                      <a:pt x="41770" y="59980"/>
                      <a:pt x="31957" y="73338"/>
                      <a:pt x="20292" y="85045"/>
                    </a:cubicBezTo>
                    <a:cubicBezTo>
                      <a:pt x="16196" y="89808"/>
                      <a:pt x="8937" y="90408"/>
                      <a:pt x="4082" y="86384"/>
                    </a:cubicBezTo>
                    <a:cubicBezTo>
                      <a:pt x="-773" y="82360"/>
                      <a:pt x="-1383" y="75237"/>
                      <a:pt x="2713" y="70474"/>
                    </a:cubicBezTo>
                    <a:cubicBezTo>
                      <a:pt x="3092" y="70031"/>
                      <a:pt x="3507" y="69618"/>
                      <a:pt x="3955" y="69239"/>
                    </a:cubicBezTo>
                    <a:cubicBezTo>
                      <a:pt x="19785" y="52838"/>
                      <a:pt x="31589" y="33105"/>
                      <a:pt x="38469" y="11547"/>
                    </a:cubicBezTo>
                    <a:cubicBezTo>
                      <a:pt x="39872" y="6969"/>
                      <a:pt x="44071" y="3758"/>
                      <a:pt x="48937" y="3531"/>
                    </a:cubicBezTo>
                    <a:cubicBezTo>
                      <a:pt x="53919" y="3170"/>
                      <a:pt x="58555" y="5997"/>
                      <a:pt x="60442" y="10531"/>
                    </a:cubicBezTo>
                    <a:cubicBezTo>
                      <a:pt x="70451" y="34691"/>
                      <a:pt x="78734" y="59191"/>
                      <a:pt x="86787" y="84480"/>
                    </a:cubicBezTo>
                    <a:cubicBezTo>
                      <a:pt x="94472" y="58140"/>
                      <a:pt x="103779" y="32276"/>
                      <a:pt x="114628" y="7031"/>
                    </a:cubicBezTo>
                    <a:cubicBezTo>
                      <a:pt x="116514" y="2496"/>
                      <a:pt x="121151" y="-330"/>
                      <a:pt x="126132" y="31"/>
                    </a:cubicBezTo>
                    <a:cubicBezTo>
                      <a:pt x="131229" y="557"/>
                      <a:pt x="135359" y="4334"/>
                      <a:pt x="136256" y="9289"/>
                    </a:cubicBezTo>
                    <a:cubicBezTo>
                      <a:pt x="139661" y="30891"/>
                      <a:pt x="150268" y="50780"/>
                      <a:pt x="166398" y="65852"/>
                    </a:cubicBezTo>
                    <a:cubicBezTo>
                      <a:pt x="170907" y="70243"/>
                      <a:pt x="170942" y="77390"/>
                      <a:pt x="166467" y="81818"/>
                    </a:cubicBezTo>
                    <a:cubicBezTo>
                      <a:pt x="162325" y="85921"/>
                      <a:pt x="155687" y="86290"/>
                      <a:pt x="151097" y="82674"/>
                    </a:cubicBezTo>
                    <a:cubicBezTo>
                      <a:pt x="139454" y="72290"/>
                      <a:pt x="130274" y="59535"/>
                      <a:pt x="124176" y="45304"/>
                    </a:cubicBezTo>
                    <a:cubicBezTo>
                      <a:pt x="113420" y="72739"/>
                      <a:pt x="105401" y="101136"/>
                      <a:pt x="100247" y="130092"/>
                    </a:cubicBezTo>
                    <a:cubicBezTo>
                      <a:pt x="99396" y="135288"/>
                      <a:pt x="95013" y="139221"/>
                      <a:pt x="89663" y="139576"/>
                    </a:cubicBezTo>
                    <a:close/>
                  </a:path>
                </a:pathLst>
              </a:custGeom>
              <a:solidFill>
                <a:srgbClr val="FCD200"/>
              </a:solidFill>
              <a:ln w="1148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Verdana"/>
                  <a:ea typeface="+mn-ea"/>
                  <a:cs typeface="+mn-cs"/>
                </a:endParaRPr>
              </a:p>
            </p:txBody>
          </p:sp>
        </p:grpSp>
      </p:grpSp>
      <p:grpSp>
        <p:nvGrpSpPr>
          <p:cNvPr id="101" name="Group 100">
            <a:extLst>
              <a:ext uri="{FF2B5EF4-FFF2-40B4-BE49-F238E27FC236}">
                <a16:creationId xmlns:a16="http://schemas.microsoft.com/office/drawing/2014/main" id="{EAF294D0-9AE1-4DA4-B0D5-0B6C70592702}"/>
              </a:ext>
            </a:extLst>
          </p:cNvPr>
          <p:cNvGrpSpPr/>
          <p:nvPr/>
        </p:nvGrpSpPr>
        <p:grpSpPr>
          <a:xfrm>
            <a:off x="1633590" y="2058373"/>
            <a:ext cx="1006867" cy="305249"/>
            <a:chOff x="1360488" y="1547841"/>
            <a:chExt cx="839496" cy="325120"/>
          </a:xfrm>
        </p:grpSpPr>
        <p:sp>
          <p:nvSpPr>
            <p:cNvPr id="102" name="object 18">
              <a:extLst>
                <a:ext uri="{FF2B5EF4-FFF2-40B4-BE49-F238E27FC236}">
                  <a16:creationId xmlns:a16="http://schemas.microsoft.com/office/drawing/2014/main" id="{AD095199-6FB2-4881-8545-BB88A8D5F1EA}"/>
                </a:ext>
              </a:extLst>
            </p:cNvPr>
            <p:cNvSpPr txBox="1"/>
            <p:nvPr/>
          </p:nvSpPr>
          <p:spPr>
            <a:xfrm>
              <a:off x="1787234" y="1611656"/>
              <a:ext cx="412750" cy="174407"/>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050" b="1" i="0" u="none" strike="noStrike" kern="1200" cap="none" normalizeH="0" baseline="0" noProof="0" dirty="0">
                  <a:ln>
                    <a:noFill/>
                  </a:ln>
                  <a:solidFill>
                    <a:srgbClr val="696057"/>
                  </a:solidFill>
                  <a:effectLst/>
                  <a:uLnTx/>
                  <a:uFillTx/>
                  <a:ea typeface="+mn-ea"/>
                  <a:cs typeface="Open Sans"/>
                </a:rPr>
                <a:t>DATA</a:t>
              </a:r>
              <a:endParaRPr kumimoji="0" sz="1050" b="0" i="0" u="none" strike="noStrike" kern="1200" cap="none" normalizeH="0" baseline="0" noProof="0" dirty="0">
                <a:ln>
                  <a:noFill/>
                </a:ln>
                <a:solidFill>
                  <a:srgbClr val="696057"/>
                </a:solidFill>
                <a:effectLst/>
                <a:uLnTx/>
                <a:uFillTx/>
                <a:ea typeface="+mn-ea"/>
                <a:cs typeface="Open Sans"/>
              </a:endParaRPr>
            </a:p>
          </p:txBody>
        </p:sp>
        <p:sp>
          <p:nvSpPr>
            <p:cNvPr id="103" name="object 36">
              <a:extLst>
                <a:ext uri="{FF2B5EF4-FFF2-40B4-BE49-F238E27FC236}">
                  <a16:creationId xmlns:a16="http://schemas.microsoft.com/office/drawing/2014/main" id="{038CDB4B-6B0A-4FA0-AD06-6DAA5F1AC217}"/>
                </a:ext>
              </a:extLst>
            </p:cNvPr>
            <p:cNvSpPr/>
            <p:nvPr/>
          </p:nvSpPr>
          <p:spPr>
            <a:xfrm>
              <a:off x="1360488" y="1547841"/>
              <a:ext cx="323215" cy="325120"/>
            </a:xfrm>
            <a:custGeom>
              <a:avLst/>
              <a:gdLst/>
              <a:ahLst/>
              <a:cxnLst/>
              <a:rect l="l" t="t" r="r" b="b"/>
              <a:pathLst>
                <a:path w="323214" h="325120">
                  <a:moveTo>
                    <a:pt x="161543" y="0"/>
                  </a:moveTo>
                  <a:lnTo>
                    <a:pt x="153669" y="1016"/>
                  </a:lnTo>
                  <a:lnTo>
                    <a:pt x="137032" y="2032"/>
                  </a:lnTo>
                  <a:lnTo>
                    <a:pt x="129158" y="3429"/>
                  </a:lnTo>
                  <a:lnTo>
                    <a:pt x="84962" y="20193"/>
                  </a:lnTo>
                  <a:lnTo>
                    <a:pt x="47116" y="47879"/>
                  </a:lnTo>
                  <a:lnTo>
                    <a:pt x="19685" y="85852"/>
                  </a:lnTo>
                  <a:lnTo>
                    <a:pt x="4952" y="121793"/>
                  </a:lnTo>
                  <a:lnTo>
                    <a:pt x="507" y="154432"/>
                  </a:lnTo>
                  <a:lnTo>
                    <a:pt x="0" y="162306"/>
                  </a:lnTo>
                  <a:lnTo>
                    <a:pt x="4952" y="202819"/>
                  </a:lnTo>
                  <a:lnTo>
                    <a:pt x="19685" y="240284"/>
                  </a:lnTo>
                  <a:lnTo>
                    <a:pt x="47116" y="277241"/>
                  </a:lnTo>
                  <a:lnTo>
                    <a:pt x="84962" y="304927"/>
                  </a:lnTo>
                  <a:lnTo>
                    <a:pt x="129158" y="321691"/>
                  </a:lnTo>
                  <a:lnTo>
                    <a:pt x="137032" y="322580"/>
                  </a:lnTo>
                  <a:lnTo>
                    <a:pt x="144906" y="324104"/>
                  </a:lnTo>
                  <a:lnTo>
                    <a:pt x="153669" y="324612"/>
                  </a:lnTo>
                  <a:lnTo>
                    <a:pt x="169925" y="324612"/>
                  </a:lnTo>
                  <a:lnTo>
                    <a:pt x="177800" y="324104"/>
                  </a:lnTo>
                  <a:lnTo>
                    <a:pt x="186054" y="322580"/>
                  </a:lnTo>
                  <a:lnTo>
                    <a:pt x="194437" y="321691"/>
                  </a:lnTo>
                  <a:lnTo>
                    <a:pt x="201802" y="319659"/>
                  </a:lnTo>
                  <a:lnTo>
                    <a:pt x="209676" y="317754"/>
                  </a:lnTo>
                  <a:lnTo>
                    <a:pt x="223900" y="312293"/>
                  </a:lnTo>
                  <a:lnTo>
                    <a:pt x="235838" y="306324"/>
                  </a:lnTo>
                  <a:lnTo>
                    <a:pt x="161543" y="306324"/>
                  </a:lnTo>
                  <a:lnTo>
                    <a:pt x="146812" y="305816"/>
                  </a:lnTo>
                  <a:lnTo>
                    <a:pt x="106044" y="295021"/>
                  </a:lnTo>
                  <a:lnTo>
                    <a:pt x="70230" y="273304"/>
                  </a:lnTo>
                  <a:lnTo>
                    <a:pt x="43179" y="242697"/>
                  </a:lnTo>
                  <a:lnTo>
                    <a:pt x="25018" y="205740"/>
                  </a:lnTo>
                  <a:lnTo>
                    <a:pt x="18161" y="162306"/>
                  </a:lnTo>
                  <a:lnTo>
                    <a:pt x="19685" y="147955"/>
                  </a:lnTo>
                  <a:lnTo>
                    <a:pt x="30479" y="107061"/>
                  </a:lnTo>
                  <a:lnTo>
                    <a:pt x="51562" y="70993"/>
                  </a:lnTo>
                  <a:lnTo>
                    <a:pt x="81533" y="43942"/>
                  </a:lnTo>
                  <a:lnTo>
                    <a:pt x="119379" y="25146"/>
                  </a:lnTo>
                  <a:lnTo>
                    <a:pt x="161543" y="18796"/>
                  </a:lnTo>
                  <a:lnTo>
                    <a:pt x="235632" y="18796"/>
                  </a:lnTo>
                  <a:lnTo>
                    <a:pt x="223900" y="13335"/>
                  </a:lnTo>
                  <a:lnTo>
                    <a:pt x="209676" y="7366"/>
                  </a:lnTo>
                  <a:lnTo>
                    <a:pt x="201802" y="5461"/>
                  </a:lnTo>
                  <a:lnTo>
                    <a:pt x="194437" y="3429"/>
                  </a:lnTo>
                  <a:lnTo>
                    <a:pt x="186054" y="2032"/>
                  </a:lnTo>
                  <a:lnTo>
                    <a:pt x="169925" y="1016"/>
                  </a:lnTo>
                  <a:lnTo>
                    <a:pt x="161543" y="0"/>
                  </a:lnTo>
                  <a:close/>
                </a:path>
                <a:path w="323214" h="325120">
                  <a:moveTo>
                    <a:pt x="235632" y="18796"/>
                  </a:moveTo>
                  <a:lnTo>
                    <a:pt x="161543" y="18796"/>
                  </a:lnTo>
                  <a:lnTo>
                    <a:pt x="175767" y="20193"/>
                  </a:lnTo>
                  <a:lnTo>
                    <a:pt x="190500" y="22225"/>
                  </a:lnTo>
                  <a:lnTo>
                    <a:pt x="229362" y="36449"/>
                  </a:lnTo>
                  <a:lnTo>
                    <a:pt x="262254" y="61214"/>
                  </a:lnTo>
                  <a:lnTo>
                    <a:pt x="287274" y="94234"/>
                  </a:lnTo>
                  <a:lnTo>
                    <a:pt x="302005" y="134239"/>
                  </a:lnTo>
                  <a:lnTo>
                    <a:pt x="304418" y="162306"/>
                  </a:lnTo>
                  <a:lnTo>
                    <a:pt x="303911" y="177165"/>
                  </a:lnTo>
                  <a:lnTo>
                    <a:pt x="293115" y="219075"/>
                  </a:lnTo>
                  <a:lnTo>
                    <a:pt x="271525" y="254127"/>
                  </a:lnTo>
                  <a:lnTo>
                    <a:pt x="241045" y="281686"/>
                  </a:lnTo>
                  <a:lnTo>
                    <a:pt x="204215" y="299466"/>
                  </a:lnTo>
                  <a:lnTo>
                    <a:pt x="161543" y="306324"/>
                  </a:lnTo>
                  <a:lnTo>
                    <a:pt x="235838" y="306324"/>
                  </a:lnTo>
                  <a:lnTo>
                    <a:pt x="275463" y="277241"/>
                  </a:lnTo>
                  <a:lnTo>
                    <a:pt x="303402" y="240284"/>
                  </a:lnTo>
                  <a:lnTo>
                    <a:pt x="317626" y="202819"/>
                  </a:lnTo>
                  <a:lnTo>
                    <a:pt x="319658" y="194818"/>
                  </a:lnTo>
                  <a:lnTo>
                    <a:pt x="321182" y="186944"/>
                  </a:lnTo>
                  <a:lnTo>
                    <a:pt x="322579" y="179070"/>
                  </a:lnTo>
                  <a:lnTo>
                    <a:pt x="323088" y="171196"/>
                  </a:lnTo>
                  <a:lnTo>
                    <a:pt x="323088" y="154432"/>
                  </a:lnTo>
                  <a:lnTo>
                    <a:pt x="315721" y="114935"/>
                  </a:lnTo>
                  <a:lnTo>
                    <a:pt x="295148" y="71501"/>
                  </a:lnTo>
                  <a:lnTo>
                    <a:pt x="264160" y="37465"/>
                  </a:lnTo>
                  <a:lnTo>
                    <a:pt x="238632" y="20193"/>
                  </a:lnTo>
                  <a:lnTo>
                    <a:pt x="235632" y="18796"/>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normalizeH="0" baseline="0" noProof="0" dirty="0">
                <a:ln>
                  <a:noFill/>
                </a:ln>
                <a:solidFill>
                  <a:srgbClr val="696057"/>
                </a:solidFill>
                <a:effectLst/>
                <a:uLnTx/>
                <a:uFillTx/>
                <a:ea typeface="+mn-ea"/>
                <a:cs typeface="+mn-cs"/>
              </a:endParaRPr>
            </a:p>
          </p:txBody>
        </p:sp>
        <p:sp>
          <p:nvSpPr>
            <p:cNvPr id="104" name="object 37">
              <a:extLst>
                <a:ext uri="{FF2B5EF4-FFF2-40B4-BE49-F238E27FC236}">
                  <a16:creationId xmlns:a16="http://schemas.microsoft.com/office/drawing/2014/main" id="{88AF9CEE-599A-4BAD-9230-F9397E4A131B}"/>
                </a:ext>
              </a:extLst>
            </p:cNvPr>
            <p:cNvSpPr/>
            <p:nvPr/>
          </p:nvSpPr>
          <p:spPr>
            <a:xfrm>
              <a:off x="1447356" y="1634964"/>
              <a:ext cx="152400" cy="150875"/>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normalizeH="0" baseline="0" noProof="0" dirty="0">
                <a:ln>
                  <a:noFill/>
                </a:ln>
                <a:solidFill>
                  <a:srgbClr val="696057"/>
                </a:solidFill>
                <a:effectLst/>
                <a:uLnTx/>
                <a:uFillTx/>
                <a:ea typeface="+mn-ea"/>
                <a:cs typeface="+mn-cs"/>
              </a:endParaRPr>
            </a:p>
          </p:txBody>
        </p:sp>
      </p:grpSp>
      <p:grpSp>
        <p:nvGrpSpPr>
          <p:cNvPr id="105" name="Group 104">
            <a:extLst>
              <a:ext uri="{FF2B5EF4-FFF2-40B4-BE49-F238E27FC236}">
                <a16:creationId xmlns:a16="http://schemas.microsoft.com/office/drawing/2014/main" id="{36E4F849-8F66-437A-B932-AADEEBE17A4D}"/>
              </a:ext>
            </a:extLst>
          </p:cNvPr>
          <p:cNvGrpSpPr/>
          <p:nvPr/>
        </p:nvGrpSpPr>
        <p:grpSpPr>
          <a:xfrm>
            <a:off x="4339886" y="2043773"/>
            <a:ext cx="2752310" cy="321840"/>
            <a:chOff x="3358359" y="1558001"/>
            <a:chExt cx="2731117" cy="325120"/>
          </a:xfrm>
        </p:grpSpPr>
        <p:sp>
          <p:nvSpPr>
            <p:cNvPr id="106" name="object 21">
              <a:extLst>
                <a:ext uri="{FF2B5EF4-FFF2-40B4-BE49-F238E27FC236}">
                  <a16:creationId xmlns:a16="http://schemas.microsoft.com/office/drawing/2014/main" id="{4C3C180C-54EF-489A-B1DA-F265D42ACA1D}"/>
                </a:ext>
              </a:extLst>
            </p:cNvPr>
            <p:cNvSpPr txBox="1"/>
            <p:nvPr/>
          </p:nvSpPr>
          <p:spPr>
            <a:xfrm>
              <a:off x="3803476" y="1632172"/>
              <a:ext cx="2286000" cy="174407"/>
            </a:xfrm>
            <a:prstGeom prst="rect">
              <a:avLst/>
            </a:prstGeom>
          </p:spPr>
          <p:txBody>
            <a:bodyPr vert="horz" wrap="square" lIns="0" tIns="12700" rIns="0" bIns="0" rtlCol="0">
              <a:spAutoFit/>
            </a:bodyPr>
            <a:lstStyle/>
            <a:p>
              <a:pPr marL="180340" marR="5080" lvl="0" indent="-167640" algn="l" defTabSz="914400" rtl="0" eaLnBrk="1" fontAlgn="auto" latinLnBrk="0" hangingPunct="1">
                <a:lnSpc>
                  <a:spcPct val="100000"/>
                </a:lnSpc>
                <a:spcBef>
                  <a:spcPts val="100"/>
                </a:spcBef>
                <a:spcAft>
                  <a:spcPts val="0"/>
                </a:spcAft>
                <a:buClrTx/>
                <a:buSzTx/>
                <a:buFontTx/>
                <a:buNone/>
                <a:tabLst/>
                <a:defRPr/>
              </a:pPr>
              <a:r>
                <a:rPr kumimoji="0" lang="en-US" sz="1050" b="1" i="0" u="none" strike="noStrike" kern="1200" cap="none" normalizeH="0" baseline="0" noProof="0" dirty="0">
                  <a:ln>
                    <a:noFill/>
                  </a:ln>
                  <a:solidFill>
                    <a:srgbClr val="696057"/>
                  </a:solidFill>
                  <a:effectLst/>
                  <a:uLnTx/>
                  <a:uFillTx/>
                  <a:ea typeface="+mn-ea"/>
                  <a:cs typeface="Open Sans"/>
                </a:rPr>
                <a:t>DECISIONING &amp;  ANALYTICS</a:t>
              </a:r>
              <a:endParaRPr kumimoji="0" lang="en-US" sz="1050" b="0" i="0" u="none" strike="noStrike" kern="1200" cap="none" normalizeH="0" baseline="0" noProof="0" dirty="0">
                <a:ln>
                  <a:noFill/>
                </a:ln>
                <a:solidFill>
                  <a:srgbClr val="696057"/>
                </a:solidFill>
                <a:effectLst/>
                <a:uLnTx/>
                <a:uFillTx/>
                <a:ea typeface="+mn-ea"/>
                <a:cs typeface="Open Sans"/>
              </a:endParaRPr>
            </a:p>
          </p:txBody>
        </p:sp>
        <p:sp>
          <p:nvSpPr>
            <p:cNvPr id="107" name="object 34">
              <a:extLst>
                <a:ext uri="{FF2B5EF4-FFF2-40B4-BE49-F238E27FC236}">
                  <a16:creationId xmlns:a16="http://schemas.microsoft.com/office/drawing/2014/main" id="{2F37746C-7912-4E6E-8151-F5B183C7ABE4}"/>
                </a:ext>
              </a:extLst>
            </p:cNvPr>
            <p:cNvSpPr/>
            <p:nvPr/>
          </p:nvSpPr>
          <p:spPr>
            <a:xfrm>
              <a:off x="3358359" y="1558001"/>
              <a:ext cx="325120" cy="325120"/>
            </a:xfrm>
            <a:custGeom>
              <a:avLst/>
              <a:gdLst/>
              <a:ahLst/>
              <a:cxnLst/>
              <a:rect l="l" t="t" r="r" b="b"/>
              <a:pathLst>
                <a:path w="325120" h="325120">
                  <a:moveTo>
                    <a:pt x="170687" y="0"/>
                  </a:moveTo>
                  <a:lnTo>
                    <a:pt x="153923" y="0"/>
                  </a:lnTo>
                  <a:lnTo>
                    <a:pt x="137540" y="2032"/>
                  </a:lnTo>
                  <a:lnTo>
                    <a:pt x="98932" y="12827"/>
                  </a:lnTo>
                  <a:lnTo>
                    <a:pt x="58927" y="37084"/>
                  </a:lnTo>
                  <a:lnTo>
                    <a:pt x="27177" y="71628"/>
                  </a:lnTo>
                  <a:lnTo>
                    <a:pt x="7365" y="114173"/>
                  </a:lnTo>
                  <a:lnTo>
                    <a:pt x="4444" y="122047"/>
                  </a:lnTo>
                  <a:lnTo>
                    <a:pt x="3428" y="129412"/>
                  </a:lnTo>
                  <a:lnTo>
                    <a:pt x="1523" y="137795"/>
                  </a:lnTo>
                  <a:lnTo>
                    <a:pt x="507" y="146304"/>
                  </a:lnTo>
                  <a:lnTo>
                    <a:pt x="0" y="154178"/>
                  </a:lnTo>
                  <a:lnTo>
                    <a:pt x="0" y="170434"/>
                  </a:lnTo>
                  <a:lnTo>
                    <a:pt x="507" y="179324"/>
                  </a:lnTo>
                  <a:lnTo>
                    <a:pt x="1523" y="187198"/>
                  </a:lnTo>
                  <a:lnTo>
                    <a:pt x="3428" y="195199"/>
                  </a:lnTo>
                  <a:lnTo>
                    <a:pt x="4444" y="203073"/>
                  </a:lnTo>
                  <a:lnTo>
                    <a:pt x="7365" y="210439"/>
                  </a:lnTo>
                  <a:lnTo>
                    <a:pt x="12318" y="225806"/>
                  </a:lnTo>
                  <a:lnTo>
                    <a:pt x="19303" y="239649"/>
                  </a:lnTo>
                  <a:lnTo>
                    <a:pt x="46989" y="277241"/>
                  </a:lnTo>
                  <a:lnTo>
                    <a:pt x="85089" y="305308"/>
                  </a:lnTo>
                  <a:lnTo>
                    <a:pt x="121665" y="319659"/>
                  </a:lnTo>
                  <a:lnTo>
                    <a:pt x="145541" y="323596"/>
                  </a:lnTo>
                  <a:lnTo>
                    <a:pt x="153923" y="324612"/>
                  </a:lnTo>
                  <a:lnTo>
                    <a:pt x="170687" y="324612"/>
                  </a:lnTo>
                  <a:lnTo>
                    <a:pt x="178688" y="323596"/>
                  </a:lnTo>
                  <a:lnTo>
                    <a:pt x="187070" y="323088"/>
                  </a:lnTo>
                  <a:lnTo>
                    <a:pt x="225678" y="311785"/>
                  </a:lnTo>
                  <a:lnTo>
                    <a:pt x="238904" y="305816"/>
                  </a:lnTo>
                  <a:lnTo>
                    <a:pt x="161797" y="305816"/>
                  </a:lnTo>
                  <a:lnTo>
                    <a:pt x="147446" y="305308"/>
                  </a:lnTo>
                  <a:lnTo>
                    <a:pt x="106425" y="294513"/>
                  </a:lnTo>
                  <a:lnTo>
                    <a:pt x="71246" y="273177"/>
                  </a:lnTo>
                  <a:lnTo>
                    <a:pt x="43052" y="243078"/>
                  </a:lnTo>
                  <a:lnTo>
                    <a:pt x="24764" y="205105"/>
                  </a:lnTo>
                  <a:lnTo>
                    <a:pt x="18287" y="162560"/>
                  </a:lnTo>
                  <a:lnTo>
                    <a:pt x="19303" y="148209"/>
                  </a:lnTo>
                  <a:lnTo>
                    <a:pt x="29717" y="106172"/>
                  </a:lnTo>
                  <a:lnTo>
                    <a:pt x="50926" y="71120"/>
                  </a:lnTo>
                  <a:lnTo>
                    <a:pt x="81660" y="42926"/>
                  </a:lnTo>
                  <a:lnTo>
                    <a:pt x="119760" y="25146"/>
                  </a:lnTo>
                  <a:lnTo>
                    <a:pt x="161797" y="18796"/>
                  </a:lnTo>
                  <a:lnTo>
                    <a:pt x="237942" y="18796"/>
                  </a:lnTo>
                  <a:lnTo>
                    <a:pt x="225678" y="12827"/>
                  </a:lnTo>
                  <a:lnTo>
                    <a:pt x="210311" y="7366"/>
                  </a:lnTo>
                  <a:lnTo>
                    <a:pt x="202437" y="5461"/>
                  </a:lnTo>
                  <a:lnTo>
                    <a:pt x="195452" y="3429"/>
                  </a:lnTo>
                  <a:lnTo>
                    <a:pt x="187070" y="2032"/>
                  </a:lnTo>
                  <a:lnTo>
                    <a:pt x="170687" y="0"/>
                  </a:lnTo>
                  <a:close/>
                </a:path>
                <a:path w="325120" h="325120">
                  <a:moveTo>
                    <a:pt x="237942" y="18796"/>
                  </a:moveTo>
                  <a:lnTo>
                    <a:pt x="161797" y="18796"/>
                  </a:lnTo>
                  <a:lnTo>
                    <a:pt x="176656" y="19304"/>
                  </a:lnTo>
                  <a:lnTo>
                    <a:pt x="191515" y="21209"/>
                  </a:lnTo>
                  <a:lnTo>
                    <a:pt x="231139" y="36068"/>
                  </a:lnTo>
                  <a:lnTo>
                    <a:pt x="264286" y="61214"/>
                  </a:lnTo>
                  <a:lnTo>
                    <a:pt x="288925" y="93345"/>
                  </a:lnTo>
                  <a:lnTo>
                    <a:pt x="303275" y="133350"/>
                  </a:lnTo>
                  <a:lnTo>
                    <a:pt x="306323" y="162560"/>
                  </a:lnTo>
                  <a:lnTo>
                    <a:pt x="305307" y="177419"/>
                  </a:lnTo>
                  <a:lnTo>
                    <a:pt x="294893" y="218440"/>
                  </a:lnTo>
                  <a:lnTo>
                    <a:pt x="273684" y="254000"/>
                  </a:lnTo>
                  <a:lnTo>
                    <a:pt x="242442" y="281178"/>
                  </a:lnTo>
                  <a:lnTo>
                    <a:pt x="205358" y="299847"/>
                  </a:lnTo>
                  <a:lnTo>
                    <a:pt x="161797" y="305816"/>
                  </a:lnTo>
                  <a:lnTo>
                    <a:pt x="238904" y="305816"/>
                  </a:lnTo>
                  <a:lnTo>
                    <a:pt x="277113" y="277241"/>
                  </a:lnTo>
                  <a:lnTo>
                    <a:pt x="305307" y="239649"/>
                  </a:lnTo>
                  <a:lnTo>
                    <a:pt x="319658" y="203073"/>
                  </a:lnTo>
                  <a:lnTo>
                    <a:pt x="322579" y="187198"/>
                  </a:lnTo>
                  <a:lnTo>
                    <a:pt x="324103" y="179324"/>
                  </a:lnTo>
                  <a:lnTo>
                    <a:pt x="324611" y="170434"/>
                  </a:lnTo>
                  <a:lnTo>
                    <a:pt x="324611" y="154178"/>
                  </a:lnTo>
                  <a:lnTo>
                    <a:pt x="324103" y="146304"/>
                  </a:lnTo>
                  <a:lnTo>
                    <a:pt x="322579" y="137795"/>
                  </a:lnTo>
                  <a:lnTo>
                    <a:pt x="321690" y="129412"/>
                  </a:lnTo>
                  <a:lnTo>
                    <a:pt x="319658" y="122047"/>
                  </a:lnTo>
                  <a:lnTo>
                    <a:pt x="317626" y="114173"/>
                  </a:lnTo>
                  <a:lnTo>
                    <a:pt x="312292" y="99822"/>
                  </a:lnTo>
                  <a:lnTo>
                    <a:pt x="287527" y="59309"/>
                  </a:lnTo>
                  <a:lnTo>
                    <a:pt x="252856" y="28194"/>
                  </a:lnTo>
                  <a:lnTo>
                    <a:pt x="240029" y="19812"/>
                  </a:lnTo>
                  <a:lnTo>
                    <a:pt x="237942" y="18796"/>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normalizeH="0" baseline="0" noProof="0" dirty="0">
                <a:ln>
                  <a:noFill/>
                </a:ln>
                <a:solidFill>
                  <a:srgbClr val="696057"/>
                </a:solidFill>
                <a:effectLst/>
                <a:uLnTx/>
                <a:uFillTx/>
                <a:ea typeface="+mn-ea"/>
                <a:cs typeface="+mn-cs"/>
              </a:endParaRPr>
            </a:p>
          </p:txBody>
        </p:sp>
        <p:sp>
          <p:nvSpPr>
            <p:cNvPr id="108" name="object 35">
              <a:extLst>
                <a:ext uri="{FF2B5EF4-FFF2-40B4-BE49-F238E27FC236}">
                  <a16:creationId xmlns:a16="http://schemas.microsoft.com/office/drawing/2014/main" id="{D666C190-3B46-447B-8B38-EA8C215DC051}"/>
                </a:ext>
              </a:extLst>
            </p:cNvPr>
            <p:cNvSpPr/>
            <p:nvPr/>
          </p:nvSpPr>
          <p:spPr>
            <a:xfrm>
              <a:off x="3452847" y="1652743"/>
              <a:ext cx="135635" cy="135636"/>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normalizeH="0" baseline="0" noProof="0" dirty="0">
                <a:ln>
                  <a:noFill/>
                </a:ln>
                <a:solidFill>
                  <a:srgbClr val="696057"/>
                </a:solidFill>
                <a:effectLst/>
                <a:uLnTx/>
                <a:uFillTx/>
                <a:ea typeface="+mn-ea"/>
                <a:cs typeface="+mn-cs"/>
              </a:endParaRPr>
            </a:p>
          </p:txBody>
        </p:sp>
      </p:grpSp>
      <p:grpSp>
        <p:nvGrpSpPr>
          <p:cNvPr id="109" name="Group 108">
            <a:extLst>
              <a:ext uri="{FF2B5EF4-FFF2-40B4-BE49-F238E27FC236}">
                <a16:creationId xmlns:a16="http://schemas.microsoft.com/office/drawing/2014/main" id="{575E87EF-F8A9-405A-A3FF-EF8FF516A27E}"/>
              </a:ext>
            </a:extLst>
          </p:cNvPr>
          <p:cNvGrpSpPr/>
          <p:nvPr/>
        </p:nvGrpSpPr>
        <p:grpSpPr>
          <a:xfrm>
            <a:off x="7855050" y="2063686"/>
            <a:ext cx="3349547" cy="253331"/>
            <a:chOff x="7921146" y="1558001"/>
            <a:chExt cx="3328319" cy="325120"/>
          </a:xfrm>
        </p:grpSpPr>
        <p:sp>
          <p:nvSpPr>
            <p:cNvPr id="110" name="object 24">
              <a:extLst>
                <a:ext uri="{FF2B5EF4-FFF2-40B4-BE49-F238E27FC236}">
                  <a16:creationId xmlns:a16="http://schemas.microsoft.com/office/drawing/2014/main" id="{02BCFE5A-5375-4C91-B6C4-D3FE54375E76}"/>
                </a:ext>
              </a:extLst>
            </p:cNvPr>
            <p:cNvSpPr txBox="1"/>
            <p:nvPr/>
          </p:nvSpPr>
          <p:spPr>
            <a:xfrm>
              <a:off x="8093131" y="1621816"/>
              <a:ext cx="3156334" cy="174407"/>
            </a:xfrm>
            <a:prstGeom prst="rect">
              <a:avLst/>
            </a:prstGeom>
          </p:spPr>
          <p:txBody>
            <a:bodyPr vert="horz" wrap="square" lIns="0" tIns="12700" rIns="0" bIns="0" rtlCol="0">
              <a:spAutoFit/>
            </a:bodyPr>
            <a:lstStyle/>
            <a:p>
              <a:pPr marL="64135" marR="5080" lvl="0" indent="-52069" algn="ctr" defTabSz="914400" rtl="0" eaLnBrk="1" fontAlgn="auto" latinLnBrk="0" hangingPunct="1">
                <a:lnSpc>
                  <a:spcPct val="100000"/>
                </a:lnSpc>
                <a:spcBef>
                  <a:spcPts val="100"/>
                </a:spcBef>
                <a:spcAft>
                  <a:spcPts val="0"/>
                </a:spcAft>
                <a:buClrTx/>
                <a:buSzTx/>
                <a:buFontTx/>
                <a:buNone/>
                <a:tabLst/>
                <a:defRPr/>
              </a:pPr>
              <a:r>
                <a:rPr kumimoji="0" lang="en-US" sz="1050" b="1" i="0" u="none" strike="noStrike" kern="1200" cap="none" normalizeH="0" baseline="0" noProof="0" dirty="0">
                  <a:ln>
                    <a:noFill/>
                  </a:ln>
                  <a:solidFill>
                    <a:srgbClr val="696057"/>
                  </a:solidFill>
                  <a:effectLst/>
                  <a:uLnTx/>
                  <a:uFillTx/>
                  <a:ea typeface="+mn-ea"/>
                  <a:cs typeface="Open Sans"/>
                </a:rPr>
                <a:t>DELIVERY: CONTENT AND CHANNELS</a:t>
              </a:r>
              <a:endParaRPr kumimoji="0" lang="en-US" sz="1050" b="0" i="0" u="none" strike="noStrike" kern="1200" cap="none" normalizeH="0" baseline="0" noProof="0" dirty="0">
                <a:ln>
                  <a:noFill/>
                </a:ln>
                <a:solidFill>
                  <a:srgbClr val="696057"/>
                </a:solidFill>
                <a:effectLst/>
                <a:uLnTx/>
                <a:uFillTx/>
                <a:ea typeface="+mn-ea"/>
                <a:cs typeface="Open Sans"/>
              </a:endParaRPr>
            </a:p>
          </p:txBody>
        </p:sp>
        <p:sp>
          <p:nvSpPr>
            <p:cNvPr id="111" name="object 30">
              <a:extLst>
                <a:ext uri="{FF2B5EF4-FFF2-40B4-BE49-F238E27FC236}">
                  <a16:creationId xmlns:a16="http://schemas.microsoft.com/office/drawing/2014/main" id="{5BBF2E53-857A-4FB2-A31F-2A08946A4F22}"/>
                </a:ext>
              </a:extLst>
            </p:cNvPr>
            <p:cNvSpPr/>
            <p:nvPr/>
          </p:nvSpPr>
          <p:spPr>
            <a:xfrm>
              <a:off x="7921146" y="1558001"/>
              <a:ext cx="323215" cy="325120"/>
            </a:xfrm>
            <a:custGeom>
              <a:avLst/>
              <a:gdLst/>
              <a:ahLst/>
              <a:cxnLst/>
              <a:rect l="l" t="t" r="r" b="b"/>
              <a:pathLst>
                <a:path w="323215" h="325120">
                  <a:moveTo>
                    <a:pt x="169672" y="0"/>
                  </a:moveTo>
                  <a:lnTo>
                    <a:pt x="152907" y="0"/>
                  </a:lnTo>
                  <a:lnTo>
                    <a:pt x="145161" y="508"/>
                  </a:lnTo>
                  <a:lnTo>
                    <a:pt x="137287" y="2032"/>
                  </a:lnTo>
                  <a:lnTo>
                    <a:pt x="128397" y="3429"/>
                  </a:lnTo>
                  <a:lnTo>
                    <a:pt x="121539" y="5461"/>
                  </a:lnTo>
                  <a:lnTo>
                    <a:pt x="113283" y="7366"/>
                  </a:lnTo>
                  <a:lnTo>
                    <a:pt x="99060" y="12827"/>
                  </a:lnTo>
                  <a:lnTo>
                    <a:pt x="58800" y="37084"/>
                  </a:lnTo>
                  <a:lnTo>
                    <a:pt x="27940" y="71628"/>
                  </a:lnTo>
                  <a:lnTo>
                    <a:pt x="7366" y="114173"/>
                  </a:lnTo>
                  <a:lnTo>
                    <a:pt x="1016" y="146304"/>
                  </a:lnTo>
                  <a:lnTo>
                    <a:pt x="0" y="154178"/>
                  </a:lnTo>
                  <a:lnTo>
                    <a:pt x="0" y="170434"/>
                  </a:lnTo>
                  <a:lnTo>
                    <a:pt x="1904" y="187198"/>
                  </a:lnTo>
                  <a:lnTo>
                    <a:pt x="12700" y="225806"/>
                  </a:lnTo>
                  <a:lnTo>
                    <a:pt x="37211" y="265811"/>
                  </a:lnTo>
                  <a:lnTo>
                    <a:pt x="71120" y="297434"/>
                  </a:lnTo>
                  <a:lnTo>
                    <a:pt x="113283" y="317754"/>
                  </a:lnTo>
                  <a:lnTo>
                    <a:pt x="152907" y="324612"/>
                  </a:lnTo>
                  <a:lnTo>
                    <a:pt x="169672" y="324612"/>
                  </a:lnTo>
                  <a:lnTo>
                    <a:pt x="185800" y="323596"/>
                  </a:lnTo>
                  <a:lnTo>
                    <a:pt x="193675" y="321691"/>
                  </a:lnTo>
                  <a:lnTo>
                    <a:pt x="201929" y="320167"/>
                  </a:lnTo>
                  <a:lnTo>
                    <a:pt x="208915" y="317754"/>
                  </a:lnTo>
                  <a:lnTo>
                    <a:pt x="224027" y="312293"/>
                  </a:lnTo>
                  <a:lnTo>
                    <a:pt x="235748" y="306324"/>
                  </a:lnTo>
                  <a:lnTo>
                    <a:pt x="161798" y="306324"/>
                  </a:lnTo>
                  <a:lnTo>
                    <a:pt x="147066" y="305308"/>
                  </a:lnTo>
                  <a:lnTo>
                    <a:pt x="105410" y="295021"/>
                  </a:lnTo>
                  <a:lnTo>
                    <a:pt x="70612" y="273685"/>
                  </a:lnTo>
                  <a:lnTo>
                    <a:pt x="43179" y="243078"/>
                  </a:lnTo>
                  <a:lnTo>
                    <a:pt x="25019" y="205105"/>
                  </a:lnTo>
                  <a:lnTo>
                    <a:pt x="18669" y="162560"/>
                  </a:lnTo>
                  <a:lnTo>
                    <a:pt x="19176" y="148209"/>
                  </a:lnTo>
                  <a:lnTo>
                    <a:pt x="29845" y="106172"/>
                  </a:lnTo>
                  <a:lnTo>
                    <a:pt x="51435" y="71120"/>
                  </a:lnTo>
                  <a:lnTo>
                    <a:pt x="81915" y="42926"/>
                  </a:lnTo>
                  <a:lnTo>
                    <a:pt x="118618" y="25146"/>
                  </a:lnTo>
                  <a:lnTo>
                    <a:pt x="161798" y="18796"/>
                  </a:lnTo>
                  <a:lnTo>
                    <a:pt x="236668" y="18796"/>
                  </a:lnTo>
                  <a:lnTo>
                    <a:pt x="224027" y="12827"/>
                  </a:lnTo>
                  <a:lnTo>
                    <a:pt x="208915" y="7366"/>
                  </a:lnTo>
                  <a:lnTo>
                    <a:pt x="201929" y="5461"/>
                  </a:lnTo>
                  <a:lnTo>
                    <a:pt x="193675" y="3429"/>
                  </a:lnTo>
                  <a:lnTo>
                    <a:pt x="185800" y="2032"/>
                  </a:lnTo>
                  <a:lnTo>
                    <a:pt x="177926" y="508"/>
                  </a:lnTo>
                  <a:lnTo>
                    <a:pt x="169672" y="0"/>
                  </a:lnTo>
                  <a:close/>
                </a:path>
                <a:path w="323215" h="325120">
                  <a:moveTo>
                    <a:pt x="236668" y="18796"/>
                  </a:moveTo>
                  <a:lnTo>
                    <a:pt x="161798" y="18796"/>
                  </a:lnTo>
                  <a:lnTo>
                    <a:pt x="176022" y="19304"/>
                  </a:lnTo>
                  <a:lnTo>
                    <a:pt x="189738" y="21209"/>
                  </a:lnTo>
                  <a:lnTo>
                    <a:pt x="229489" y="36068"/>
                  </a:lnTo>
                  <a:lnTo>
                    <a:pt x="262254" y="60325"/>
                  </a:lnTo>
                  <a:lnTo>
                    <a:pt x="286766" y="93853"/>
                  </a:lnTo>
                  <a:lnTo>
                    <a:pt x="300990" y="133350"/>
                  </a:lnTo>
                  <a:lnTo>
                    <a:pt x="304419" y="162560"/>
                  </a:lnTo>
                  <a:lnTo>
                    <a:pt x="303529" y="177419"/>
                  </a:lnTo>
                  <a:lnTo>
                    <a:pt x="292735" y="218440"/>
                  </a:lnTo>
                  <a:lnTo>
                    <a:pt x="271652" y="253492"/>
                  </a:lnTo>
                  <a:lnTo>
                    <a:pt x="241173" y="281686"/>
                  </a:lnTo>
                  <a:lnTo>
                    <a:pt x="203962" y="300355"/>
                  </a:lnTo>
                  <a:lnTo>
                    <a:pt x="161798" y="306324"/>
                  </a:lnTo>
                  <a:lnTo>
                    <a:pt x="235748" y="306324"/>
                  </a:lnTo>
                  <a:lnTo>
                    <a:pt x="275590" y="277622"/>
                  </a:lnTo>
                  <a:lnTo>
                    <a:pt x="303529" y="239649"/>
                  </a:lnTo>
                  <a:lnTo>
                    <a:pt x="317753" y="203073"/>
                  </a:lnTo>
                  <a:lnTo>
                    <a:pt x="321564" y="179324"/>
                  </a:lnTo>
                  <a:lnTo>
                    <a:pt x="322579" y="170434"/>
                  </a:lnTo>
                  <a:lnTo>
                    <a:pt x="323088" y="162560"/>
                  </a:lnTo>
                  <a:lnTo>
                    <a:pt x="322579" y="154178"/>
                  </a:lnTo>
                  <a:lnTo>
                    <a:pt x="321564" y="146304"/>
                  </a:lnTo>
                  <a:lnTo>
                    <a:pt x="321182" y="137414"/>
                  </a:lnTo>
                  <a:lnTo>
                    <a:pt x="309879" y="98806"/>
                  </a:lnTo>
                  <a:lnTo>
                    <a:pt x="286257" y="59309"/>
                  </a:lnTo>
                  <a:lnTo>
                    <a:pt x="251968" y="28194"/>
                  </a:lnTo>
                  <a:lnTo>
                    <a:pt x="237744" y="19304"/>
                  </a:lnTo>
                  <a:lnTo>
                    <a:pt x="236668" y="18796"/>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normalizeH="0" baseline="0" noProof="0" dirty="0">
                <a:ln>
                  <a:noFill/>
                </a:ln>
                <a:solidFill>
                  <a:srgbClr val="696057"/>
                </a:solidFill>
                <a:effectLst/>
                <a:uLnTx/>
                <a:uFillTx/>
                <a:ea typeface="+mn-ea"/>
                <a:cs typeface="+mn-cs"/>
              </a:endParaRPr>
            </a:p>
          </p:txBody>
        </p:sp>
        <p:sp>
          <p:nvSpPr>
            <p:cNvPr id="112" name="object 31">
              <a:extLst>
                <a:ext uri="{FF2B5EF4-FFF2-40B4-BE49-F238E27FC236}">
                  <a16:creationId xmlns:a16="http://schemas.microsoft.com/office/drawing/2014/main" id="{ADBCDF93-A551-4880-8D26-322A972413F7}"/>
                </a:ext>
              </a:extLst>
            </p:cNvPr>
            <p:cNvSpPr/>
            <p:nvPr/>
          </p:nvSpPr>
          <p:spPr>
            <a:xfrm>
              <a:off x="7998870" y="1648933"/>
              <a:ext cx="147827" cy="143256"/>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normalizeH="0" baseline="0" noProof="0" dirty="0">
                <a:ln>
                  <a:noFill/>
                </a:ln>
                <a:solidFill>
                  <a:srgbClr val="696057"/>
                </a:solidFill>
                <a:effectLst/>
                <a:uLnTx/>
                <a:uFillTx/>
                <a:ea typeface="+mn-ea"/>
                <a:cs typeface="+mn-cs"/>
              </a:endParaRPr>
            </a:p>
          </p:txBody>
        </p:sp>
      </p:grpSp>
      <p:sp>
        <p:nvSpPr>
          <p:cNvPr id="113" name="Text Placeholder 54">
            <a:extLst>
              <a:ext uri="{FF2B5EF4-FFF2-40B4-BE49-F238E27FC236}">
                <a16:creationId xmlns:a16="http://schemas.microsoft.com/office/drawing/2014/main" id="{C7960B89-F585-467D-BF6B-742B1E23EEC2}"/>
              </a:ext>
            </a:extLst>
          </p:cNvPr>
          <p:cNvSpPr txBox="1">
            <a:spLocks/>
          </p:cNvSpPr>
          <p:nvPr/>
        </p:nvSpPr>
        <p:spPr>
          <a:xfrm>
            <a:off x="624557" y="767233"/>
            <a:ext cx="10362880" cy="105316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ea typeface="Verdana"/>
              </a:rPr>
              <a:t> Interaction Studio couple's customer data, with decisioning, to distribute offers across multiple channels.</a:t>
            </a:r>
          </a:p>
          <a:p>
            <a:r>
              <a:rPr lang="en-US" sz="1400" dirty="0">
                <a:ea typeface="Verdana"/>
              </a:rPr>
              <a:t>Enables marketers to listen to known and unknown interactions with customers—understand their needs and act in real-time to deliver highly personalized experiences across touchpoints at scale.</a:t>
            </a:r>
          </a:p>
          <a:p>
            <a:endParaRPr lang="en-US" sz="1400" dirty="0">
              <a:ea typeface="Verdana"/>
            </a:endParaRPr>
          </a:p>
          <a:p>
            <a:endParaRPr lang="en-US" sz="1400" dirty="0"/>
          </a:p>
          <a:p>
            <a:endParaRPr lang="en-US" sz="1400" dirty="0"/>
          </a:p>
        </p:txBody>
      </p:sp>
      <p:sp>
        <p:nvSpPr>
          <p:cNvPr id="114" name="Triangle 137">
            <a:extLst>
              <a:ext uri="{FF2B5EF4-FFF2-40B4-BE49-F238E27FC236}">
                <a16:creationId xmlns:a16="http://schemas.microsoft.com/office/drawing/2014/main" id="{1535618A-58DE-49B2-ACC3-600B559B9B72}"/>
              </a:ext>
            </a:extLst>
          </p:cNvPr>
          <p:cNvSpPr/>
          <p:nvPr/>
        </p:nvSpPr>
        <p:spPr bwMode="gray">
          <a:xfrm rot="5400000">
            <a:off x="2645307" y="3966866"/>
            <a:ext cx="1979801" cy="234892"/>
          </a:xfrm>
          <a:prstGeom prst="triangle">
            <a:avLst>
              <a:gd name="adj" fmla="val 50424"/>
            </a:avLst>
          </a:prstGeom>
          <a:solidFill>
            <a:schemeClr val="bg1">
              <a:lumMod val="85000"/>
            </a:schemeClr>
          </a:solidFill>
          <a:ln w="3175" algn="ctr">
            <a:solidFill>
              <a:schemeClr val="bg1">
                <a:lumMod val="85000"/>
              </a:schemeClr>
            </a:solidFill>
            <a:miter lim="800000"/>
            <a:headEnd/>
            <a:tailEnd/>
          </a:ln>
        </p:spPr>
        <p:txBody>
          <a:bodyPr wrap="square" lIns="88900" tIns="88900" rIns="88900" bIns="88900" rtlCol="0" anchor="ctr"/>
          <a:lstStyle/>
          <a:p>
            <a:pPr marL="0" marR="0" lvl="0" indent="0" algn="ctr" defTabSz="1217613" rtl="0" eaLnBrk="0" fontAlgn="base" latinLnBrk="0" hangingPunct="0">
              <a:lnSpc>
                <a:spcPct val="106000"/>
              </a:lnSpc>
              <a:spcBef>
                <a:spcPct val="0"/>
              </a:spcBef>
              <a:spcAft>
                <a:spcPct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panose="020B0604030504040204" pitchFamily="34" charset="0"/>
              <a:ea typeface="+mn-ea"/>
              <a:cs typeface="+mn-cs"/>
            </a:endParaRPr>
          </a:p>
        </p:txBody>
      </p:sp>
      <p:sp>
        <p:nvSpPr>
          <p:cNvPr id="115" name="Triangle 137">
            <a:extLst>
              <a:ext uri="{FF2B5EF4-FFF2-40B4-BE49-F238E27FC236}">
                <a16:creationId xmlns:a16="http://schemas.microsoft.com/office/drawing/2014/main" id="{359D0CBD-A0D2-4745-B471-93B548A0BEF4}"/>
              </a:ext>
            </a:extLst>
          </p:cNvPr>
          <p:cNvSpPr/>
          <p:nvPr/>
        </p:nvSpPr>
        <p:spPr bwMode="gray">
          <a:xfrm rot="5400000">
            <a:off x="6458225" y="3956693"/>
            <a:ext cx="1979801" cy="234892"/>
          </a:xfrm>
          <a:prstGeom prst="triangle">
            <a:avLst>
              <a:gd name="adj" fmla="val 50424"/>
            </a:avLst>
          </a:prstGeom>
          <a:solidFill>
            <a:schemeClr val="bg1">
              <a:lumMod val="85000"/>
            </a:schemeClr>
          </a:solidFill>
          <a:ln w="3175" algn="ctr">
            <a:solidFill>
              <a:schemeClr val="bg1">
                <a:lumMod val="85000"/>
              </a:schemeClr>
            </a:solidFill>
            <a:miter lim="800000"/>
            <a:headEnd/>
            <a:tailEnd/>
          </a:ln>
        </p:spPr>
        <p:txBody>
          <a:bodyPr wrap="square" lIns="88900" tIns="88900" rIns="88900" bIns="88900" rtlCol="0" anchor="ctr"/>
          <a:lstStyle/>
          <a:p>
            <a:pPr marL="0" marR="0" lvl="0" indent="0" algn="ctr" defTabSz="1217613" rtl="0" eaLnBrk="0" fontAlgn="base" latinLnBrk="0" hangingPunct="0">
              <a:lnSpc>
                <a:spcPct val="106000"/>
              </a:lnSpc>
              <a:spcBef>
                <a:spcPct val="0"/>
              </a:spcBef>
              <a:spcAft>
                <a:spcPct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panose="020B0604030504040204" pitchFamily="34" charset="0"/>
              <a:ea typeface="+mn-ea"/>
              <a:cs typeface="+mn-cs"/>
            </a:endParaRPr>
          </a:p>
        </p:txBody>
      </p:sp>
    </p:spTree>
    <p:extLst>
      <p:ext uri="{BB962C8B-B14F-4D97-AF65-F5344CB8AC3E}">
        <p14:creationId xmlns:p14="http://schemas.microsoft.com/office/powerpoint/2010/main" val="220202061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0">
            <a:extLst>
              <a:ext uri="{FF2B5EF4-FFF2-40B4-BE49-F238E27FC236}">
                <a16:creationId xmlns:a16="http://schemas.microsoft.com/office/drawing/2014/main" id="{54F0E06A-7E06-4475-B31E-2EC43034958C}"/>
              </a:ext>
            </a:extLst>
          </p:cNvPr>
          <p:cNvSpPr txBox="1">
            <a:spLocks/>
          </p:cNvSpPr>
          <p:nvPr/>
        </p:nvSpPr>
        <p:spPr>
          <a:xfrm>
            <a:off x="-1" y="165101"/>
            <a:ext cx="12191999" cy="409330"/>
          </a:xfrm>
          <a:prstGeom prst="rect">
            <a:avLst/>
          </a:prstGeom>
          <a:solidFill>
            <a:schemeClr val="tx1"/>
          </a:solidFill>
        </p:spPr>
        <p:txBody>
          <a:bodyPr vert="horz" lIns="0" tIns="45720" rIns="0" bIns="0" rtlCol="0" anchor="b" anchorCtr="0">
            <a:noAutofit/>
          </a:bodyPr>
          <a:lstStyle>
            <a:lvl1pPr algn="l" defTabSz="914400" rtl="0" eaLnBrk="1" latinLnBrk="0" hangingPunct="1">
              <a:lnSpc>
                <a:spcPct val="90000"/>
              </a:lnSpc>
              <a:spcBef>
                <a:spcPct val="0"/>
              </a:spcBef>
              <a:buNone/>
              <a:defRPr lang="en-US" sz="3600" b="0" kern="1200" spc="-75" dirty="0">
                <a:solidFill>
                  <a:schemeClr val="tx1"/>
                </a:solidFill>
                <a:latin typeface="+mj-lt"/>
                <a:ea typeface="+mj-ea"/>
                <a:cs typeface="+mj-cs"/>
              </a:defRPr>
            </a:lvl1pPr>
          </a:lstStyle>
          <a:p>
            <a:pPr algn="ctr"/>
            <a:r>
              <a:rPr lang="en-US" sz="2800" b="1" dirty="0">
                <a:solidFill>
                  <a:schemeClr val="bg1"/>
                </a:solidFill>
              </a:rPr>
              <a:t>Understand Interaction Studio Within Your Architecture</a:t>
            </a:r>
          </a:p>
        </p:txBody>
      </p:sp>
      <p:pic>
        <p:nvPicPr>
          <p:cNvPr id="28" name="Picture 27">
            <a:extLst>
              <a:ext uri="{FF2B5EF4-FFF2-40B4-BE49-F238E27FC236}">
                <a16:creationId xmlns:a16="http://schemas.microsoft.com/office/drawing/2014/main" id="{A407B2AF-0953-4E9A-9E22-D7A08F8B0195}"/>
              </a:ext>
            </a:extLst>
          </p:cNvPr>
          <p:cNvPicPr>
            <a:picLocks noChangeAspect="1"/>
          </p:cNvPicPr>
          <p:nvPr/>
        </p:nvPicPr>
        <p:blipFill>
          <a:blip r:embed="rId3"/>
          <a:stretch>
            <a:fillRect/>
          </a:stretch>
        </p:blipFill>
        <p:spPr>
          <a:xfrm>
            <a:off x="337678" y="6426731"/>
            <a:ext cx="3133725" cy="238125"/>
          </a:xfrm>
          <a:prstGeom prst="rect">
            <a:avLst/>
          </a:prstGeom>
        </p:spPr>
      </p:pic>
      <p:grpSp>
        <p:nvGrpSpPr>
          <p:cNvPr id="4" name="Group 3">
            <a:extLst>
              <a:ext uri="{FF2B5EF4-FFF2-40B4-BE49-F238E27FC236}">
                <a16:creationId xmlns:a16="http://schemas.microsoft.com/office/drawing/2014/main" id="{A9E5D59D-7E4F-4B3E-AFDD-EB0F6AF3800C}"/>
              </a:ext>
            </a:extLst>
          </p:cNvPr>
          <p:cNvGrpSpPr/>
          <p:nvPr/>
        </p:nvGrpSpPr>
        <p:grpSpPr>
          <a:xfrm>
            <a:off x="337678" y="1475551"/>
            <a:ext cx="11705259" cy="4814227"/>
            <a:chOff x="273413" y="1629663"/>
            <a:chExt cx="11705259" cy="4814227"/>
          </a:xfrm>
        </p:grpSpPr>
        <p:sp>
          <p:nvSpPr>
            <p:cNvPr id="5" name="object 16">
              <a:extLst>
                <a:ext uri="{FF2B5EF4-FFF2-40B4-BE49-F238E27FC236}">
                  <a16:creationId xmlns:a16="http://schemas.microsoft.com/office/drawing/2014/main" id="{CF5D346A-3B80-4151-92A0-B96CAD70FA91}"/>
                </a:ext>
              </a:extLst>
            </p:cNvPr>
            <p:cNvSpPr/>
            <p:nvPr/>
          </p:nvSpPr>
          <p:spPr>
            <a:xfrm>
              <a:off x="8374573" y="2076578"/>
              <a:ext cx="3488518" cy="3928159"/>
            </a:xfrm>
            <a:custGeom>
              <a:avLst/>
              <a:gdLst/>
              <a:ahLst/>
              <a:cxnLst/>
              <a:rect l="l" t="t" r="r" b="b"/>
              <a:pathLst>
                <a:path w="1673860" h="1160145">
                  <a:moveTo>
                    <a:pt x="0" y="1159763"/>
                  </a:moveTo>
                  <a:lnTo>
                    <a:pt x="1673352" y="1159763"/>
                  </a:lnTo>
                  <a:lnTo>
                    <a:pt x="1673352" y="0"/>
                  </a:lnTo>
                  <a:lnTo>
                    <a:pt x="0" y="0"/>
                  </a:lnTo>
                  <a:lnTo>
                    <a:pt x="0" y="1159763"/>
                  </a:lnTo>
                  <a:close/>
                </a:path>
              </a:pathLst>
            </a:custGeom>
            <a:solidFill>
              <a:schemeClr val="bg1"/>
            </a:solidFill>
            <a:ln w="28575">
              <a:solidFill>
                <a:srgbClr val="FCD200"/>
              </a:solidFill>
              <a:prstDash val="sys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6" name="object 16">
              <a:extLst>
                <a:ext uri="{FF2B5EF4-FFF2-40B4-BE49-F238E27FC236}">
                  <a16:creationId xmlns:a16="http://schemas.microsoft.com/office/drawing/2014/main" id="{3AC6FD5B-4C6C-4D3B-BF6D-23F146D04585}"/>
                </a:ext>
              </a:extLst>
            </p:cNvPr>
            <p:cNvSpPr/>
            <p:nvPr/>
          </p:nvSpPr>
          <p:spPr>
            <a:xfrm>
              <a:off x="3145736" y="2107955"/>
              <a:ext cx="4948919" cy="3928159"/>
            </a:xfrm>
            <a:custGeom>
              <a:avLst/>
              <a:gdLst/>
              <a:ahLst/>
              <a:cxnLst/>
              <a:rect l="l" t="t" r="r" b="b"/>
              <a:pathLst>
                <a:path w="1673860" h="1160145">
                  <a:moveTo>
                    <a:pt x="0" y="1159763"/>
                  </a:moveTo>
                  <a:lnTo>
                    <a:pt x="1673352" y="1159763"/>
                  </a:lnTo>
                  <a:lnTo>
                    <a:pt x="1673352" y="0"/>
                  </a:lnTo>
                  <a:lnTo>
                    <a:pt x="0" y="0"/>
                  </a:lnTo>
                  <a:lnTo>
                    <a:pt x="0" y="1159763"/>
                  </a:lnTo>
                  <a:close/>
                </a:path>
              </a:pathLst>
            </a:custGeom>
            <a:solidFill>
              <a:schemeClr val="bg1"/>
            </a:solidFill>
            <a:ln w="28575">
              <a:solidFill>
                <a:srgbClr val="6EBBE7"/>
              </a:solidFill>
              <a:prstDash val="sys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7" name="object 16">
              <a:extLst>
                <a:ext uri="{FF2B5EF4-FFF2-40B4-BE49-F238E27FC236}">
                  <a16:creationId xmlns:a16="http://schemas.microsoft.com/office/drawing/2014/main" id="{20D028F8-E563-489A-942A-DA697EEA3AEF}"/>
                </a:ext>
              </a:extLst>
            </p:cNvPr>
            <p:cNvSpPr/>
            <p:nvPr/>
          </p:nvSpPr>
          <p:spPr>
            <a:xfrm>
              <a:off x="542308" y="2076578"/>
              <a:ext cx="2436901" cy="3928159"/>
            </a:xfrm>
            <a:custGeom>
              <a:avLst/>
              <a:gdLst/>
              <a:ahLst/>
              <a:cxnLst/>
              <a:rect l="l" t="t" r="r" b="b"/>
              <a:pathLst>
                <a:path w="1673860" h="1160145">
                  <a:moveTo>
                    <a:pt x="0" y="1159763"/>
                  </a:moveTo>
                  <a:lnTo>
                    <a:pt x="1673352" y="1159763"/>
                  </a:lnTo>
                  <a:lnTo>
                    <a:pt x="1673352" y="0"/>
                  </a:lnTo>
                  <a:lnTo>
                    <a:pt x="0" y="0"/>
                  </a:lnTo>
                  <a:lnTo>
                    <a:pt x="0" y="1159763"/>
                  </a:lnTo>
                  <a:close/>
                </a:path>
              </a:pathLst>
            </a:custGeom>
            <a:solidFill>
              <a:schemeClr val="bg1"/>
            </a:solidFill>
            <a:ln w="28575">
              <a:solidFill>
                <a:schemeClr val="accent1"/>
              </a:solidFill>
              <a:prstDash val="sys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8" name="Rounded Rectangle 3">
              <a:extLst>
                <a:ext uri="{FF2B5EF4-FFF2-40B4-BE49-F238E27FC236}">
                  <a16:creationId xmlns:a16="http://schemas.microsoft.com/office/drawing/2014/main" id="{AC21A339-FA3F-4017-8C82-B8D32E9DCD8D}"/>
                </a:ext>
              </a:extLst>
            </p:cNvPr>
            <p:cNvSpPr/>
            <p:nvPr/>
          </p:nvSpPr>
          <p:spPr bwMode="gray">
            <a:xfrm>
              <a:off x="4270819" y="2134522"/>
              <a:ext cx="2678307" cy="2071718"/>
            </a:xfrm>
            <a:prstGeom prst="roundRect">
              <a:avLst/>
            </a:prstGeom>
            <a:solidFill>
              <a:srgbClr val="E0F0FA"/>
            </a:solidFill>
            <a:ln w="19050" algn="ctr">
              <a:solidFill>
                <a:schemeClr val="bg1"/>
              </a:solidFill>
              <a:miter lim="800000"/>
              <a:headEnd/>
              <a:tailEnd/>
            </a:ln>
          </p:spPr>
          <p:txBody>
            <a:bodyPr wrap="square" lIns="88900" tIns="88900" rIns="88900" bIns="88900" rtlCol="0" anchor="ctr"/>
            <a:lstStyle/>
            <a:p>
              <a:pPr marL="0" marR="0" lvl="0" indent="0" algn="ctr" defTabSz="1217613" rtl="0" eaLnBrk="0" fontAlgn="base" latinLnBrk="0" hangingPunct="0">
                <a:lnSpc>
                  <a:spcPct val="106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Verdana" panose="020B0604030504040204" pitchFamily="34" charset="0"/>
                <a:ea typeface="+mn-ea"/>
                <a:cs typeface="+mn-cs"/>
              </a:endParaRPr>
            </a:p>
          </p:txBody>
        </p:sp>
        <p:sp>
          <p:nvSpPr>
            <p:cNvPr id="9" name="object 24">
              <a:extLst>
                <a:ext uri="{FF2B5EF4-FFF2-40B4-BE49-F238E27FC236}">
                  <a16:creationId xmlns:a16="http://schemas.microsoft.com/office/drawing/2014/main" id="{2D57A08D-B2CC-4826-9386-B21D282492C3}"/>
                </a:ext>
              </a:extLst>
            </p:cNvPr>
            <p:cNvSpPr/>
            <p:nvPr/>
          </p:nvSpPr>
          <p:spPr>
            <a:xfrm>
              <a:off x="273413" y="3867963"/>
              <a:ext cx="9919100" cy="2437289"/>
            </a:xfrm>
            <a:custGeom>
              <a:avLst/>
              <a:gdLst/>
              <a:ahLst/>
              <a:cxnLst/>
              <a:rect l="l" t="t" r="r" b="b"/>
              <a:pathLst>
                <a:path w="9968865" h="1547495">
                  <a:moveTo>
                    <a:pt x="162331" y="28194"/>
                  </a:moveTo>
                  <a:lnTo>
                    <a:pt x="0" y="28194"/>
                  </a:lnTo>
                  <a:lnTo>
                    <a:pt x="0" y="1547114"/>
                  </a:lnTo>
                  <a:lnTo>
                    <a:pt x="9968509" y="1547114"/>
                  </a:lnTo>
                  <a:lnTo>
                    <a:pt x="9968509" y="1537208"/>
                  </a:lnTo>
                  <a:lnTo>
                    <a:pt x="19812" y="1537208"/>
                  </a:lnTo>
                  <a:lnTo>
                    <a:pt x="9906" y="1527302"/>
                  </a:lnTo>
                  <a:lnTo>
                    <a:pt x="19812" y="1527302"/>
                  </a:lnTo>
                  <a:lnTo>
                    <a:pt x="19812" y="48006"/>
                  </a:lnTo>
                  <a:lnTo>
                    <a:pt x="9906" y="48006"/>
                  </a:lnTo>
                  <a:lnTo>
                    <a:pt x="19812" y="38100"/>
                  </a:lnTo>
                  <a:lnTo>
                    <a:pt x="162331" y="38100"/>
                  </a:lnTo>
                  <a:lnTo>
                    <a:pt x="162331" y="28194"/>
                  </a:lnTo>
                  <a:close/>
                </a:path>
                <a:path w="9968865" h="1547495">
                  <a:moveTo>
                    <a:pt x="19812" y="1527302"/>
                  </a:moveTo>
                  <a:lnTo>
                    <a:pt x="9906" y="1527302"/>
                  </a:lnTo>
                  <a:lnTo>
                    <a:pt x="19812" y="1537208"/>
                  </a:lnTo>
                  <a:lnTo>
                    <a:pt x="19812" y="1527302"/>
                  </a:lnTo>
                  <a:close/>
                </a:path>
                <a:path w="9968865" h="1547495">
                  <a:moveTo>
                    <a:pt x="9948697" y="1527302"/>
                  </a:moveTo>
                  <a:lnTo>
                    <a:pt x="19812" y="1527302"/>
                  </a:lnTo>
                  <a:lnTo>
                    <a:pt x="19812" y="1537208"/>
                  </a:lnTo>
                  <a:lnTo>
                    <a:pt x="9948697" y="1537208"/>
                  </a:lnTo>
                  <a:lnTo>
                    <a:pt x="9948697" y="1527302"/>
                  </a:lnTo>
                  <a:close/>
                </a:path>
                <a:path w="9968865" h="1547495">
                  <a:moveTo>
                    <a:pt x="9968509" y="1308608"/>
                  </a:moveTo>
                  <a:lnTo>
                    <a:pt x="9948697" y="1308608"/>
                  </a:lnTo>
                  <a:lnTo>
                    <a:pt x="9948697" y="1537208"/>
                  </a:lnTo>
                  <a:lnTo>
                    <a:pt x="9958603" y="1527302"/>
                  </a:lnTo>
                  <a:lnTo>
                    <a:pt x="9968509" y="1527302"/>
                  </a:lnTo>
                  <a:lnTo>
                    <a:pt x="9968509" y="1308608"/>
                  </a:lnTo>
                  <a:close/>
                </a:path>
                <a:path w="9968865" h="1547495">
                  <a:moveTo>
                    <a:pt x="9968509" y="1527302"/>
                  </a:moveTo>
                  <a:lnTo>
                    <a:pt x="9958603" y="1527302"/>
                  </a:lnTo>
                  <a:lnTo>
                    <a:pt x="9948697" y="1537208"/>
                  </a:lnTo>
                  <a:lnTo>
                    <a:pt x="9968509" y="1537208"/>
                  </a:lnTo>
                  <a:lnTo>
                    <a:pt x="9968509" y="1527302"/>
                  </a:lnTo>
                  <a:close/>
                </a:path>
                <a:path w="9968865" h="1547495">
                  <a:moveTo>
                    <a:pt x="162331" y="0"/>
                  </a:moveTo>
                  <a:lnTo>
                    <a:pt x="162331" y="76200"/>
                  </a:lnTo>
                  <a:lnTo>
                    <a:pt x="218719" y="48006"/>
                  </a:lnTo>
                  <a:lnTo>
                    <a:pt x="175031" y="48006"/>
                  </a:lnTo>
                  <a:lnTo>
                    <a:pt x="175031" y="28194"/>
                  </a:lnTo>
                  <a:lnTo>
                    <a:pt x="218719" y="28194"/>
                  </a:lnTo>
                  <a:lnTo>
                    <a:pt x="162331" y="0"/>
                  </a:lnTo>
                  <a:close/>
                </a:path>
                <a:path w="9968865" h="1547495">
                  <a:moveTo>
                    <a:pt x="19812" y="38100"/>
                  </a:moveTo>
                  <a:lnTo>
                    <a:pt x="9906" y="48006"/>
                  </a:lnTo>
                  <a:lnTo>
                    <a:pt x="19812" y="48006"/>
                  </a:lnTo>
                  <a:lnTo>
                    <a:pt x="19812" y="38100"/>
                  </a:lnTo>
                  <a:close/>
                </a:path>
                <a:path w="9968865" h="1547495">
                  <a:moveTo>
                    <a:pt x="162331" y="38100"/>
                  </a:moveTo>
                  <a:lnTo>
                    <a:pt x="19812" y="38100"/>
                  </a:lnTo>
                  <a:lnTo>
                    <a:pt x="19812" y="48006"/>
                  </a:lnTo>
                  <a:lnTo>
                    <a:pt x="162331" y="48006"/>
                  </a:lnTo>
                  <a:lnTo>
                    <a:pt x="162331" y="38100"/>
                  </a:lnTo>
                  <a:close/>
                </a:path>
                <a:path w="9968865" h="1547495">
                  <a:moveTo>
                    <a:pt x="218719" y="28194"/>
                  </a:moveTo>
                  <a:lnTo>
                    <a:pt x="175031" y="28194"/>
                  </a:lnTo>
                  <a:lnTo>
                    <a:pt x="175031" y="48006"/>
                  </a:lnTo>
                  <a:lnTo>
                    <a:pt x="218719" y="48006"/>
                  </a:lnTo>
                  <a:lnTo>
                    <a:pt x="238531" y="38100"/>
                  </a:lnTo>
                  <a:lnTo>
                    <a:pt x="218719" y="28194"/>
                  </a:lnTo>
                  <a:close/>
                </a:path>
              </a:pathLst>
            </a:cu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solidFill>
                <a:schemeClr val="bg1">
                  <a:lumMod val="75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Verdana" panose="020B0604030504040204" pitchFamily="34" charset="0"/>
                <a:ea typeface="+mn-ea"/>
                <a:cs typeface="+mn-cs"/>
              </a:endParaRPr>
            </a:p>
          </p:txBody>
        </p:sp>
        <p:sp>
          <p:nvSpPr>
            <p:cNvPr id="10" name="TextBox 9">
              <a:extLst>
                <a:ext uri="{FF2B5EF4-FFF2-40B4-BE49-F238E27FC236}">
                  <a16:creationId xmlns:a16="http://schemas.microsoft.com/office/drawing/2014/main" id="{1BC1A7AB-1A51-4BD4-90D6-3B5550A46B7D}"/>
                </a:ext>
              </a:extLst>
            </p:cNvPr>
            <p:cNvSpPr txBox="1"/>
            <p:nvPr/>
          </p:nvSpPr>
          <p:spPr>
            <a:xfrm>
              <a:off x="728346" y="5650722"/>
              <a:ext cx="2064824" cy="338554"/>
            </a:xfrm>
            <a:prstGeom prst="rect">
              <a:avLst/>
            </a:prstGeom>
            <a:noFill/>
          </p:spPr>
          <p:txBody>
            <a:bodyPr wrap="square" rtlCol="0">
              <a:spAutoFit/>
            </a:bodyPr>
            <a:lstStyle/>
            <a:p>
              <a:pPr marL="0" marR="0" lvl="0" indent="0" algn="ctr" defTabSz="1217613"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300" normalizeH="0" baseline="0" noProof="0" dirty="0">
                  <a:ln>
                    <a:noFill/>
                  </a:ln>
                  <a:solidFill>
                    <a:srgbClr val="A5A5A5">
                      <a:lumMod val="50000"/>
                    </a:srgbClr>
                  </a:solidFill>
                  <a:effectLst/>
                  <a:uLnTx/>
                  <a:uFillTx/>
                  <a:latin typeface="Verdana"/>
                  <a:ea typeface="+mn-ea"/>
                  <a:cs typeface="+mn-cs"/>
                </a:rPr>
                <a:t>WEBSITE + ECOMMERCE DATA </a:t>
              </a:r>
            </a:p>
          </p:txBody>
        </p:sp>
        <p:grpSp>
          <p:nvGrpSpPr>
            <p:cNvPr id="11" name="Group 10">
              <a:extLst>
                <a:ext uri="{FF2B5EF4-FFF2-40B4-BE49-F238E27FC236}">
                  <a16:creationId xmlns:a16="http://schemas.microsoft.com/office/drawing/2014/main" id="{9A0A9BD9-5FC4-45D6-8679-20B6F6C8B7ED}"/>
                </a:ext>
              </a:extLst>
            </p:cNvPr>
            <p:cNvGrpSpPr>
              <a:grpSpLocks noChangeAspect="1"/>
            </p:cNvGrpSpPr>
            <p:nvPr/>
          </p:nvGrpSpPr>
          <p:grpSpPr>
            <a:xfrm>
              <a:off x="1499614" y="5090372"/>
              <a:ext cx="522288" cy="520700"/>
              <a:chOff x="4078288" y="5856288"/>
              <a:chExt cx="522288" cy="520700"/>
            </a:xfrm>
          </p:grpSpPr>
          <p:sp>
            <p:nvSpPr>
              <p:cNvPr id="87" name="Freeform 16">
                <a:extLst>
                  <a:ext uri="{FF2B5EF4-FFF2-40B4-BE49-F238E27FC236}">
                    <a16:creationId xmlns:a16="http://schemas.microsoft.com/office/drawing/2014/main" id="{5C41367E-7859-40CF-8127-A659F9B417E8}"/>
                  </a:ext>
                </a:extLst>
              </p:cNvPr>
              <p:cNvSpPr>
                <a:spLocks noEditPoints="1"/>
              </p:cNvSpPr>
              <p:nvPr/>
            </p:nvSpPr>
            <p:spPr bwMode="auto">
              <a:xfrm>
                <a:off x="4078288" y="5856288"/>
                <a:ext cx="522288" cy="5207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8 h 657"/>
                  <a:gd name="T16" fmla="*/ 2 w 658"/>
                  <a:gd name="T17" fmla="*/ 294 h 657"/>
                  <a:gd name="T18" fmla="*/ 10 w 658"/>
                  <a:gd name="T19" fmla="*/ 246 h 657"/>
                  <a:gd name="T20" fmla="*/ 40 w 658"/>
                  <a:gd name="T21" fmla="*/ 172 h 657"/>
                  <a:gd name="T22" fmla="*/ 96 w 658"/>
                  <a:gd name="T23" fmla="*/ 95 h 657"/>
                  <a:gd name="T24" fmla="*/ 172 w 658"/>
                  <a:gd name="T25" fmla="*/ 39 h 657"/>
                  <a:gd name="T26" fmla="*/ 247 w 658"/>
                  <a:gd name="T27" fmla="*/ 9 h 657"/>
                  <a:gd name="T28" fmla="*/ 295 w 658"/>
                  <a:gd name="T29" fmla="*/ 1 h 657"/>
                  <a:gd name="T30" fmla="*/ 329 w 658"/>
                  <a:gd name="T31" fmla="*/ 0 h 657"/>
                  <a:gd name="T32" fmla="*/ 379 w 658"/>
                  <a:gd name="T33" fmla="*/ 3 h 657"/>
                  <a:gd name="T34" fmla="*/ 427 w 658"/>
                  <a:gd name="T35" fmla="*/ 15 h 657"/>
                  <a:gd name="T36" fmla="*/ 513 w 658"/>
                  <a:gd name="T37" fmla="*/ 55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5 h 657"/>
                  <a:gd name="T52" fmla="*/ 583 w 658"/>
                  <a:gd name="T53" fmla="*/ 537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0 h 657"/>
                  <a:gd name="T66" fmla="*/ 166 w 658"/>
                  <a:gd name="T67" fmla="*/ 87 h 657"/>
                  <a:gd name="T68" fmla="*/ 105 w 658"/>
                  <a:gd name="T69" fmla="*/ 144 h 657"/>
                  <a:gd name="T70" fmla="*/ 60 w 658"/>
                  <a:gd name="T71" fmla="*/ 215 h 657"/>
                  <a:gd name="T72" fmla="*/ 39 w 658"/>
                  <a:gd name="T73" fmla="*/ 298 h 657"/>
                  <a:gd name="T74" fmla="*/ 39 w 658"/>
                  <a:gd name="T75" fmla="*/ 357 h 657"/>
                  <a:gd name="T76" fmla="*/ 60 w 658"/>
                  <a:gd name="T77" fmla="*/ 442 h 657"/>
                  <a:gd name="T78" fmla="*/ 105 w 658"/>
                  <a:gd name="T79" fmla="*/ 513 h 657"/>
                  <a:gd name="T80" fmla="*/ 166 w 658"/>
                  <a:gd name="T81" fmla="*/ 570 h 657"/>
                  <a:gd name="T82" fmla="*/ 243 w 658"/>
                  <a:gd name="T83" fmla="*/ 606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8 h 657"/>
                  <a:gd name="T98" fmla="*/ 607 w 658"/>
                  <a:gd name="T99" fmla="*/ 242 h 657"/>
                  <a:gd name="T100" fmla="*/ 571 w 658"/>
                  <a:gd name="T101" fmla="*/ 165 h 657"/>
                  <a:gd name="T102" fmla="*/ 514 w 658"/>
                  <a:gd name="T103" fmla="*/ 103 h 657"/>
                  <a:gd name="T104" fmla="*/ 442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6"/>
                    </a:lnTo>
                    <a:lnTo>
                      <a:pt x="231" y="642"/>
                    </a:lnTo>
                    <a:lnTo>
                      <a:pt x="201" y="631"/>
                    </a:lnTo>
                    <a:lnTo>
                      <a:pt x="172" y="617"/>
                    </a:lnTo>
                    <a:lnTo>
                      <a:pt x="145" y="601"/>
                    </a:lnTo>
                    <a:lnTo>
                      <a:pt x="119" y="582"/>
                    </a:lnTo>
                    <a:lnTo>
                      <a:pt x="96" y="560"/>
                    </a:lnTo>
                    <a:lnTo>
                      <a:pt x="75" y="537"/>
                    </a:lnTo>
                    <a:lnTo>
                      <a:pt x="56" y="512"/>
                    </a:lnTo>
                    <a:lnTo>
                      <a:pt x="40" y="485"/>
                    </a:lnTo>
                    <a:lnTo>
                      <a:pt x="27" y="455"/>
                    </a:lnTo>
                    <a:lnTo>
                      <a:pt x="15" y="426"/>
                    </a:lnTo>
                    <a:lnTo>
                      <a:pt x="10" y="410"/>
                    </a:lnTo>
                    <a:lnTo>
                      <a:pt x="6" y="395"/>
                    </a:lnTo>
                    <a:lnTo>
                      <a:pt x="4" y="379"/>
                    </a:lnTo>
                    <a:lnTo>
                      <a:pt x="2" y="361"/>
                    </a:lnTo>
                    <a:lnTo>
                      <a:pt x="1" y="345"/>
                    </a:lnTo>
                    <a:lnTo>
                      <a:pt x="0" y="328"/>
                    </a:lnTo>
                    <a:lnTo>
                      <a:pt x="0" y="328"/>
                    </a:lnTo>
                    <a:lnTo>
                      <a:pt x="1" y="312"/>
                    </a:lnTo>
                    <a:lnTo>
                      <a:pt x="2" y="294"/>
                    </a:lnTo>
                    <a:lnTo>
                      <a:pt x="4" y="278"/>
                    </a:lnTo>
                    <a:lnTo>
                      <a:pt x="6" y="262"/>
                    </a:lnTo>
                    <a:lnTo>
                      <a:pt x="10" y="246"/>
                    </a:lnTo>
                    <a:lnTo>
                      <a:pt x="15" y="231"/>
                    </a:lnTo>
                    <a:lnTo>
                      <a:pt x="27" y="200"/>
                    </a:lnTo>
                    <a:lnTo>
                      <a:pt x="40" y="172"/>
                    </a:lnTo>
                    <a:lnTo>
                      <a:pt x="56" y="145"/>
                    </a:lnTo>
                    <a:lnTo>
                      <a:pt x="75" y="120"/>
                    </a:lnTo>
                    <a:lnTo>
                      <a:pt x="96" y="95"/>
                    </a:lnTo>
                    <a:lnTo>
                      <a:pt x="119" y="75"/>
                    </a:lnTo>
                    <a:lnTo>
                      <a:pt x="145" y="55"/>
                    </a:lnTo>
                    <a:lnTo>
                      <a:pt x="172" y="39"/>
                    </a:lnTo>
                    <a:lnTo>
                      <a:pt x="201" y="26"/>
                    </a:lnTo>
                    <a:lnTo>
                      <a:pt x="231" y="15"/>
                    </a:lnTo>
                    <a:lnTo>
                      <a:pt x="247" y="9"/>
                    </a:lnTo>
                    <a:lnTo>
                      <a:pt x="263" y="7"/>
                    </a:lnTo>
                    <a:lnTo>
                      <a:pt x="279" y="3"/>
                    </a:lnTo>
                    <a:lnTo>
                      <a:pt x="295" y="1"/>
                    </a:lnTo>
                    <a:lnTo>
                      <a:pt x="311" y="0"/>
                    </a:lnTo>
                    <a:lnTo>
                      <a:pt x="329" y="0"/>
                    </a:lnTo>
                    <a:lnTo>
                      <a:pt x="329" y="0"/>
                    </a:lnTo>
                    <a:lnTo>
                      <a:pt x="346" y="0"/>
                    </a:lnTo>
                    <a:lnTo>
                      <a:pt x="362" y="1"/>
                    </a:lnTo>
                    <a:lnTo>
                      <a:pt x="379" y="3"/>
                    </a:lnTo>
                    <a:lnTo>
                      <a:pt x="395" y="7"/>
                    </a:lnTo>
                    <a:lnTo>
                      <a:pt x="411" y="9"/>
                    </a:lnTo>
                    <a:lnTo>
                      <a:pt x="427" y="15"/>
                    </a:lnTo>
                    <a:lnTo>
                      <a:pt x="456" y="26"/>
                    </a:lnTo>
                    <a:lnTo>
                      <a:pt x="486" y="39"/>
                    </a:lnTo>
                    <a:lnTo>
                      <a:pt x="513" y="55"/>
                    </a:lnTo>
                    <a:lnTo>
                      <a:pt x="538" y="75"/>
                    </a:lnTo>
                    <a:lnTo>
                      <a:pt x="561" y="95"/>
                    </a:lnTo>
                    <a:lnTo>
                      <a:pt x="583" y="120"/>
                    </a:lnTo>
                    <a:lnTo>
                      <a:pt x="602" y="145"/>
                    </a:lnTo>
                    <a:lnTo>
                      <a:pt x="618" y="172"/>
                    </a:lnTo>
                    <a:lnTo>
                      <a:pt x="632" y="200"/>
                    </a:lnTo>
                    <a:lnTo>
                      <a:pt x="643" y="231"/>
                    </a:lnTo>
                    <a:lnTo>
                      <a:pt x="647" y="246"/>
                    </a:lnTo>
                    <a:lnTo>
                      <a:pt x="651" y="262"/>
                    </a:lnTo>
                    <a:lnTo>
                      <a:pt x="654" y="278"/>
                    </a:lnTo>
                    <a:lnTo>
                      <a:pt x="657" y="294"/>
                    </a:lnTo>
                    <a:lnTo>
                      <a:pt x="657" y="312"/>
                    </a:lnTo>
                    <a:lnTo>
                      <a:pt x="658" y="328"/>
                    </a:lnTo>
                    <a:lnTo>
                      <a:pt x="658" y="328"/>
                    </a:lnTo>
                    <a:lnTo>
                      <a:pt x="657" y="345"/>
                    </a:lnTo>
                    <a:lnTo>
                      <a:pt x="657" y="361"/>
                    </a:lnTo>
                    <a:lnTo>
                      <a:pt x="654" y="379"/>
                    </a:lnTo>
                    <a:lnTo>
                      <a:pt x="651" y="395"/>
                    </a:lnTo>
                    <a:lnTo>
                      <a:pt x="647" y="410"/>
                    </a:lnTo>
                    <a:lnTo>
                      <a:pt x="643" y="426"/>
                    </a:lnTo>
                    <a:lnTo>
                      <a:pt x="632" y="455"/>
                    </a:lnTo>
                    <a:lnTo>
                      <a:pt x="618" y="485"/>
                    </a:lnTo>
                    <a:lnTo>
                      <a:pt x="602" y="512"/>
                    </a:lnTo>
                    <a:lnTo>
                      <a:pt x="583" y="537"/>
                    </a:lnTo>
                    <a:lnTo>
                      <a:pt x="561" y="560"/>
                    </a:lnTo>
                    <a:lnTo>
                      <a:pt x="538" y="582"/>
                    </a:lnTo>
                    <a:lnTo>
                      <a:pt x="513" y="601"/>
                    </a:lnTo>
                    <a:lnTo>
                      <a:pt x="486" y="617"/>
                    </a:lnTo>
                    <a:lnTo>
                      <a:pt x="456" y="631"/>
                    </a:lnTo>
                    <a:lnTo>
                      <a:pt x="427" y="642"/>
                    </a:lnTo>
                    <a:lnTo>
                      <a:pt x="411" y="646"/>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0"/>
                    </a:lnTo>
                    <a:lnTo>
                      <a:pt x="216" y="60"/>
                    </a:lnTo>
                    <a:lnTo>
                      <a:pt x="190" y="73"/>
                    </a:lnTo>
                    <a:lnTo>
                      <a:pt x="166" y="87"/>
                    </a:lnTo>
                    <a:lnTo>
                      <a:pt x="143" y="103"/>
                    </a:lnTo>
                    <a:lnTo>
                      <a:pt x="123" y="122"/>
                    </a:lnTo>
                    <a:lnTo>
                      <a:pt x="105" y="144"/>
                    </a:lnTo>
                    <a:lnTo>
                      <a:pt x="87" y="165"/>
                    </a:lnTo>
                    <a:lnTo>
                      <a:pt x="72" y="189"/>
                    </a:lnTo>
                    <a:lnTo>
                      <a:pt x="60" y="215"/>
                    </a:lnTo>
                    <a:lnTo>
                      <a:pt x="51" y="242"/>
                    </a:lnTo>
                    <a:lnTo>
                      <a:pt x="44" y="270"/>
                    </a:lnTo>
                    <a:lnTo>
                      <a:pt x="39" y="298"/>
                    </a:lnTo>
                    <a:lnTo>
                      <a:pt x="37" y="328"/>
                    </a:lnTo>
                    <a:lnTo>
                      <a:pt x="37" y="328"/>
                    </a:lnTo>
                    <a:lnTo>
                      <a:pt x="39" y="357"/>
                    </a:lnTo>
                    <a:lnTo>
                      <a:pt x="44" y="387"/>
                    </a:lnTo>
                    <a:lnTo>
                      <a:pt x="51" y="415"/>
                    </a:lnTo>
                    <a:lnTo>
                      <a:pt x="60" y="442"/>
                    </a:lnTo>
                    <a:lnTo>
                      <a:pt x="72" y="468"/>
                    </a:lnTo>
                    <a:lnTo>
                      <a:pt x="87" y="490"/>
                    </a:lnTo>
                    <a:lnTo>
                      <a:pt x="105" y="513"/>
                    </a:lnTo>
                    <a:lnTo>
                      <a:pt x="123" y="535"/>
                    </a:lnTo>
                    <a:lnTo>
                      <a:pt x="143" y="554"/>
                    </a:lnTo>
                    <a:lnTo>
                      <a:pt x="166" y="570"/>
                    </a:lnTo>
                    <a:lnTo>
                      <a:pt x="190" y="584"/>
                    </a:lnTo>
                    <a:lnTo>
                      <a:pt x="216" y="597"/>
                    </a:lnTo>
                    <a:lnTo>
                      <a:pt x="243" y="606"/>
                    </a:lnTo>
                    <a:lnTo>
                      <a:pt x="270" y="614"/>
                    </a:lnTo>
                    <a:lnTo>
                      <a:pt x="299" y="618"/>
                    </a:lnTo>
                    <a:lnTo>
                      <a:pt x="329" y="619"/>
                    </a:lnTo>
                    <a:lnTo>
                      <a:pt x="329" y="619"/>
                    </a:lnTo>
                    <a:lnTo>
                      <a:pt x="358" y="618"/>
                    </a:lnTo>
                    <a:lnTo>
                      <a:pt x="388" y="614"/>
                    </a:lnTo>
                    <a:lnTo>
                      <a:pt x="415" y="606"/>
                    </a:lnTo>
                    <a:lnTo>
                      <a:pt x="442" y="597"/>
                    </a:lnTo>
                    <a:lnTo>
                      <a:pt x="467" y="584"/>
                    </a:lnTo>
                    <a:lnTo>
                      <a:pt x="491" y="570"/>
                    </a:lnTo>
                    <a:lnTo>
                      <a:pt x="514" y="554"/>
                    </a:lnTo>
                    <a:lnTo>
                      <a:pt x="534" y="535"/>
                    </a:lnTo>
                    <a:lnTo>
                      <a:pt x="553" y="513"/>
                    </a:lnTo>
                    <a:lnTo>
                      <a:pt x="571" y="490"/>
                    </a:lnTo>
                    <a:lnTo>
                      <a:pt x="585" y="468"/>
                    </a:lnTo>
                    <a:lnTo>
                      <a:pt x="598" y="442"/>
                    </a:lnTo>
                    <a:lnTo>
                      <a:pt x="607" y="415"/>
                    </a:lnTo>
                    <a:lnTo>
                      <a:pt x="614" y="387"/>
                    </a:lnTo>
                    <a:lnTo>
                      <a:pt x="619" y="357"/>
                    </a:lnTo>
                    <a:lnTo>
                      <a:pt x="620" y="328"/>
                    </a:lnTo>
                    <a:lnTo>
                      <a:pt x="620" y="328"/>
                    </a:lnTo>
                    <a:lnTo>
                      <a:pt x="619" y="298"/>
                    </a:lnTo>
                    <a:lnTo>
                      <a:pt x="614" y="270"/>
                    </a:lnTo>
                    <a:lnTo>
                      <a:pt x="607" y="242"/>
                    </a:lnTo>
                    <a:lnTo>
                      <a:pt x="598" y="215"/>
                    </a:lnTo>
                    <a:lnTo>
                      <a:pt x="585" y="189"/>
                    </a:lnTo>
                    <a:lnTo>
                      <a:pt x="571" y="165"/>
                    </a:lnTo>
                    <a:lnTo>
                      <a:pt x="553" y="144"/>
                    </a:lnTo>
                    <a:lnTo>
                      <a:pt x="534" y="122"/>
                    </a:lnTo>
                    <a:lnTo>
                      <a:pt x="514" y="103"/>
                    </a:lnTo>
                    <a:lnTo>
                      <a:pt x="491" y="87"/>
                    </a:lnTo>
                    <a:lnTo>
                      <a:pt x="467" y="73"/>
                    </a:lnTo>
                    <a:lnTo>
                      <a:pt x="442" y="60"/>
                    </a:lnTo>
                    <a:lnTo>
                      <a:pt x="415" y="50"/>
                    </a:lnTo>
                    <a:lnTo>
                      <a:pt x="388" y="43"/>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88" name="Freeform 112">
                <a:extLst>
                  <a:ext uri="{FF2B5EF4-FFF2-40B4-BE49-F238E27FC236}">
                    <a16:creationId xmlns:a16="http://schemas.microsoft.com/office/drawing/2014/main" id="{FED506C0-3812-45B3-A575-D2A87B9D79B1}"/>
                  </a:ext>
                </a:extLst>
              </p:cNvPr>
              <p:cNvSpPr>
                <a:spLocks/>
              </p:cNvSpPr>
              <p:nvPr/>
            </p:nvSpPr>
            <p:spPr bwMode="auto">
              <a:xfrm>
                <a:off x="4240213" y="6005513"/>
                <a:ext cx="206375" cy="207963"/>
              </a:xfrm>
              <a:custGeom>
                <a:avLst/>
                <a:gdLst>
                  <a:gd name="T0" fmla="*/ 16 w 259"/>
                  <a:gd name="T1" fmla="*/ 18 h 261"/>
                  <a:gd name="T2" fmla="*/ 242 w 259"/>
                  <a:gd name="T3" fmla="*/ 18 h 261"/>
                  <a:gd name="T4" fmla="*/ 242 w 259"/>
                  <a:gd name="T5" fmla="*/ 139 h 261"/>
                  <a:gd name="T6" fmla="*/ 259 w 259"/>
                  <a:gd name="T7" fmla="*/ 139 h 261"/>
                  <a:gd name="T8" fmla="*/ 259 w 259"/>
                  <a:gd name="T9" fmla="*/ 9 h 261"/>
                  <a:gd name="T10" fmla="*/ 259 w 259"/>
                  <a:gd name="T11" fmla="*/ 9 h 261"/>
                  <a:gd name="T12" fmla="*/ 259 w 259"/>
                  <a:gd name="T13" fmla="*/ 6 h 261"/>
                  <a:gd name="T14" fmla="*/ 256 w 259"/>
                  <a:gd name="T15" fmla="*/ 3 h 261"/>
                  <a:gd name="T16" fmla="*/ 254 w 259"/>
                  <a:gd name="T17" fmla="*/ 0 h 261"/>
                  <a:gd name="T18" fmla="*/ 251 w 259"/>
                  <a:gd name="T19" fmla="*/ 0 h 261"/>
                  <a:gd name="T20" fmla="*/ 8 w 259"/>
                  <a:gd name="T21" fmla="*/ 0 h 261"/>
                  <a:gd name="T22" fmla="*/ 8 w 259"/>
                  <a:gd name="T23" fmla="*/ 0 h 261"/>
                  <a:gd name="T24" fmla="*/ 4 w 259"/>
                  <a:gd name="T25" fmla="*/ 0 h 261"/>
                  <a:gd name="T26" fmla="*/ 1 w 259"/>
                  <a:gd name="T27" fmla="*/ 3 h 261"/>
                  <a:gd name="T28" fmla="*/ 0 w 259"/>
                  <a:gd name="T29" fmla="*/ 6 h 261"/>
                  <a:gd name="T30" fmla="*/ 0 w 259"/>
                  <a:gd name="T31" fmla="*/ 9 h 261"/>
                  <a:gd name="T32" fmla="*/ 0 w 259"/>
                  <a:gd name="T33" fmla="*/ 252 h 261"/>
                  <a:gd name="T34" fmla="*/ 0 w 259"/>
                  <a:gd name="T35" fmla="*/ 252 h 261"/>
                  <a:gd name="T36" fmla="*/ 0 w 259"/>
                  <a:gd name="T37" fmla="*/ 256 h 261"/>
                  <a:gd name="T38" fmla="*/ 1 w 259"/>
                  <a:gd name="T39" fmla="*/ 258 h 261"/>
                  <a:gd name="T40" fmla="*/ 4 w 259"/>
                  <a:gd name="T41" fmla="*/ 260 h 261"/>
                  <a:gd name="T42" fmla="*/ 8 w 259"/>
                  <a:gd name="T43" fmla="*/ 261 h 261"/>
                  <a:gd name="T44" fmla="*/ 138 w 259"/>
                  <a:gd name="T45" fmla="*/ 261 h 261"/>
                  <a:gd name="T46" fmla="*/ 138 w 259"/>
                  <a:gd name="T47" fmla="*/ 244 h 261"/>
                  <a:gd name="T48" fmla="*/ 16 w 259"/>
                  <a:gd name="T49" fmla="*/ 244 h 261"/>
                  <a:gd name="T50" fmla="*/ 16 w 259"/>
                  <a:gd name="T51" fmla="*/ 1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9" h="261">
                    <a:moveTo>
                      <a:pt x="16" y="18"/>
                    </a:moveTo>
                    <a:lnTo>
                      <a:pt x="242" y="18"/>
                    </a:lnTo>
                    <a:lnTo>
                      <a:pt x="242" y="139"/>
                    </a:lnTo>
                    <a:lnTo>
                      <a:pt x="259" y="139"/>
                    </a:lnTo>
                    <a:lnTo>
                      <a:pt x="259" y="9"/>
                    </a:lnTo>
                    <a:lnTo>
                      <a:pt x="259" y="9"/>
                    </a:lnTo>
                    <a:lnTo>
                      <a:pt x="259" y="6"/>
                    </a:lnTo>
                    <a:lnTo>
                      <a:pt x="256" y="3"/>
                    </a:lnTo>
                    <a:lnTo>
                      <a:pt x="254" y="0"/>
                    </a:lnTo>
                    <a:lnTo>
                      <a:pt x="251" y="0"/>
                    </a:lnTo>
                    <a:lnTo>
                      <a:pt x="8" y="0"/>
                    </a:lnTo>
                    <a:lnTo>
                      <a:pt x="8" y="0"/>
                    </a:lnTo>
                    <a:lnTo>
                      <a:pt x="4" y="0"/>
                    </a:lnTo>
                    <a:lnTo>
                      <a:pt x="1" y="3"/>
                    </a:lnTo>
                    <a:lnTo>
                      <a:pt x="0" y="6"/>
                    </a:lnTo>
                    <a:lnTo>
                      <a:pt x="0" y="9"/>
                    </a:lnTo>
                    <a:lnTo>
                      <a:pt x="0" y="252"/>
                    </a:lnTo>
                    <a:lnTo>
                      <a:pt x="0" y="252"/>
                    </a:lnTo>
                    <a:lnTo>
                      <a:pt x="0" y="256"/>
                    </a:lnTo>
                    <a:lnTo>
                      <a:pt x="1" y="258"/>
                    </a:lnTo>
                    <a:lnTo>
                      <a:pt x="4" y="260"/>
                    </a:lnTo>
                    <a:lnTo>
                      <a:pt x="8" y="261"/>
                    </a:lnTo>
                    <a:lnTo>
                      <a:pt x="138" y="261"/>
                    </a:lnTo>
                    <a:lnTo>
                      <a:pt x="138" y="244"/>
                    </a:lnTo>
                    <a:lnTo>
                      <a:pt x="16" y="244"/>
                    </a:lnTo>
                    <a:lnTo>
                      <a:pt x="1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89" name="Freeform 113">
                <a:extLst>
                  <a:ext uri="{FF2B5EF4-FFF2-40B4-BE49-F238E27FC236}">
                    <a16:creationId xmlns:a16="http://schemas.microsoft.com/office/drawing/2014/main" id="{E1607843-9975-4B77-B153-4D7B63F46318}"/>
                  </a:ext>
                </a:extLst>
              </p:cNvPr>
              <p:cNvSpPr>
                <a:spLocks/>
              </p:cNvSpPr>
              <p:nvPr/>
            </p:nvSpPr>
            <p:spPr bwMode="auto">
              <a:xfrm>
                <a:off x="4354513" y="6119813"/>
                <a:ext cx="106363" cy="107950"/>
              </a:xfrm>
              <a:custGeom>
                <a:avLst/>
                <a:gdLst>
                  <a:gd name="T0" fmla="*/ 133 w 134"/>
                  <a:gd name="T1" fmla="*/ 121 h 136"/>
                  <a:gd name="T2" fmla="*/ 83 w 134"/>
                  <a:gd name="T3" fmla="*/ 70 h 136"/>
                  <a:gd name="T4" fmla="*/ 131 w 134"/>
                  <a:gd name="T5" fmla="*/ 51 h 136"/>
                  <a:gd name="T6" fmla="*/ 131 w 134"/>
                  <a:gd name="T7" fmla="*/ 51 h 136"/>
                  <a:gd name="T8" fmla="*/ 134 w 134"/>
                  <a:gd name="T9" fmla="*/ 50 h 136"/>
                  <a:gd name="T10" fmla="*/ 134 w 134"/>
                  <a:gd name="T11" fmla="*/ 47 h 136"/>
                  <a:gd name="T12" fmla="*/ 134 w 134"/>
                  <a:gd name="T13" fmla="*/ 47 h 136"/>
                  <a:gd name="T14" fmla="*/ 134 w 134"/>
                  <a:gd name="T15" fmla="*/ 45 h 136"/>
                  <a:gd name="T16" fmla="*/ 131 w 134"/>
                  <a:gd name="T17" fmla="*/ 43 h 136"/>
                  <a:gd name="T18" fmla="*/ 5 w 134"/>
                  <a:gd name="T19" fmla="*/ 0 h 136"/>
                  <a:gd name="T20" fmla="*/ 5 w 134"/>
                  <a:gd name="T21" fmla="*/ 0 h 136"/>
                  <a:gd name="T22" fmla="*/ 2 w 134"/>
                  <a:gd name="T23" fmla="*/ 0 h 136"/>
                  <a:gd name="T24" fmla="*/ 1 w 134"/>
                  <a:gd name="T25" fmla="*/ 2 h 136"/>
                  <a:gd name="T26" fmla="*/ 1 w 134"/>
                  <a:gd name="T27" fmla="*/ 2 h 136"/>
                  <a:gd name="T28" fmla="*/ 0 w 134"/>
                  <a:gd name="T29" fmla="*/ 4 h 136"/>
                  <a:gd name="T30" fmla="*/ 0 w 134"/>
                  <a:gd name="T31" fmla="*/ 7 h 136"/>
                  <a:gd name="T32" fmla="*/ 41 w 134"/>
                  <a:gd name="T33" fmla="*/ 133 h 136"/>
                  <a:gd name="T34" fmla="*/ 41 w 134"/>
                  <a:gd name="T35" fmla="*/ 133 h 136"/>
                  <a:gd name="T36" fmla="*/ 43 w 134"/>
                  <a:gd name="T37" fmla="*/ 135 h 136"/>
                  <a:gd name="T38" fmla="*/ 45 w 134"/>
                  <a:gd name="T39" fmla="*/ 136 h 136"/>
                  <a:gd name="T40" fmla="*/ 45 w 134"/>
                  <a:gd name="T41" fmla="*/ 136 h 136"/>
                  <a:gd name="T42" fmla="*/ 45 w 134"/>
                  <a:gd name="T43" fmla="*/ 136 h 136"/>
                  <a:gd name="T44" fmla="*/ 45 w 134"/>
                  <a:gd name="T45" fmla="*/ 136 h 136"/>
                  <a:gd name="T46" fmla="*/ 48 w 134"/>
                  <a:gd name="T47" fmla="*/ 135 h 136"/>
                  <a:gd name="T48" fmla="*/ 51 w 134"/>
                  <a:gd name="T49" fmla="*/ 133 h 136"/>
                  <a:gd name="T50" fmla="*/ 70 w 134"/>
                  <a:gd name="T51" fmla="*/ 83 h 136"/>
                  <a:gd name="T52" fmla="*/ 121 w 134"/>
                  <a:gd name="T53" fmla="*/ 135 h 136"/>
                  <a:gd name="T54" fmla="*/ 121 w 134"/>
                  <a:gd name="T55" fmla="*/ 135 h 136"/>
                  <a:gd name="T56" fmla="*/ 123 w 134"/>
                  <a:gd name="T57" fmla="*/ 136 h 136"/>
                  <a:gd name="T58" fmla="*/ 127 w 134"/>
                  <a:gd name="T59" fmla="*/ 135 h 136"/>
                  <a:gd name="T60" fmla="*/ 133 w 134"/>
                  <a:gd name="T61" fmla="*/ 128 h 136"/>
                  <a:gd name="T62" fmla="*/ 133 w 134"/>
                  <a:gd name="T63" fmla="*/ 128 h 136"/>
                  <a:gd name="T64" fmla="*/ 134 w 134"/>
                  <a:gd name="T65" fmla="*/ 125 h 136"/>
                  <a:gd name="T66" fmla="*/ 133 w 134"/>
                  <a:gd name="T67" fmla="*/ 121 h 136"/>
                  <a:gd name="T68" fmla="*/ 133 w 134"/>
                  <a:gd name="T69" fmla="*/ 12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4" h="136">
                    <a:moveTo>
                      <a:pt x="133" y="121"/>
                    </a:moveTo>
                    <a:lnTo>
                      <a:pt x="83" y="70"/>
                    </a:lnTo>
                    <a:lnTo>
                      <a:pt x="131" y="51"/>
                    </a:lnTo>
                    <a:lnTo>
                      <a:pt x="131" y="51"/>
                    </a:lnTo>
                    <a:lnTo>
                      <a:pt x="134" y="50"/>
                    </a:lnTo>
                    <a:lnTo>
                      <a:pt x="134" y="47"/>
                    </a:lnTo>
                    <a:lnTo>
                      <a:pt x="134" y="47"/>
                    </a:lnTo>
                    <a:lnTo>
                      <a:pt x="134" y="45"/>
                    </a:lnTo>
                    <a:lnTo>
                      <a:pt x="131" y="43"/>
                    </a:lnTo>
                    <a:lnTo>
                      <a:pt x="5" y="0"/>
                    </a:lnTo>
                    <a:lnTo>
                      <a:pt x="5" y="0"/>
                    </a:lnTo>
                    <a:lnTo>
                      <a:pt x="2" y="0"/>
                    </a:lnTo>
                    <a:lnTo>
                      <a:pt x="1" y="2"/>
                    </a:lnTo>
                    <a:lnTo>
                      <a:pt x="1" y="2"/>
                    </a:lnTo>
                    <a:lnTo>
                      <a:pt x="0" y="4"/>
                    </a:lnTo>
                    <a:lnTo>
                      <a:pt x="0" y="7"/>
                    </a:lnTo>
                    <a:lnTo>
                      <a:pt x="41" y="133"/>
                    </a:lnTo>
                    <a:lnTo>
                      <a:pt x="41" y="133"/>
                    </a:lnTo>
                    <a:lnTo>
                      <a:pt x="43" y="135"/>
                    </a:lnTo>
                    <a:lnTo>
                      <a:pt x="45" y="136"/>
                    </a:lnTo>
                    <a:lnTo>
                      <a:pt x="45" y="136"/>
                    </a:lnTo>
                    <a:lnTo>
                      <a:pt x="45" y="136"/>
                    </a:lnTo>
                    <a:lnTo>
                      <a:pt x="45" y="136"/>
                    </a:lnTo>
                    <a:lnTo>
                      <a:pt x="48" y="135"/>
                    </a:lnTo>
                    <a:lnTo>
                      <a:pt x="51" y="133"/>
                    </a:lnTo>
                    <a:lnTo>
                      <a:pt x="70" y="83"/>
                    </a:lnTo>
                    <a:lnTo>
                      <a:pt x="121" y="135"/>
                    </a:lnTo>
                    <a:lnTo>
                      <a:pt x="121" y="135"/>
                    </a:lnTo>
                    <a:lnTo>
                      <a:pt x="123" y="136"/>
                    </a:lnTo>
                    <a:lnTo>
                      <a:pt x="127" y="135"/>
                    </a:lnTo>
                    <a:lnTo>
                      <a:pt x="133" y="128"/>
                    </a:lnTo>
                    <a:lnTo>
                      <a:pt x="133" y="128"/>
                    </a:lnTo>
                    <a:lnTo>
                      <a:pt x="134" y="125"/>
                    </a:lnTo>
                    <a:lnTo>
                      <a:pt x="133" y="121"/>
                    </a:lnTo>
                    <a:lnTo>
                      <a:pt x="133" y="1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grpSp>
        <p:grpSp>
          <p:nvGrpSpPr>
            <p:cNvPr id="12" name="Group 11">
              <a:extLst>
                <a:ext uri="{FF2B5EF4-FFF2-40B4-BE49-F238E27FC236}">
                  <a16:creationId xmlns:a16="http://schemas.microsoft.com/office/drawing/2014/main" id="{DBA9E6CD-51E3-4471-98DA-F7D072D8FE81}"/>
                </a:ext>
              </a:extLst>
            </p:cNvPr>
            <p:cNvGrpSpPr/>
            <p:nvPr/>
          </p:nvGrpSpPr>
          <p:grpSpPr>
            <a:xfrm>
              <a:off x="681033" y="4317900"/>
              <a:ext cx="2159450" cy="461665"/>
              <a:chOff x="795502" y="4219470"/>
              <a:chExt cx="2159450" cy="461665"/>
            </a:xfrm>
          </p:grpSpPr>
          <p:sp>
            <p:nvSpPr>
              <p:cNvPr id="85" name="TextBox 84">
                <a:extLst>
                  <a:ext uri="{FF2B5EF4-FFF2-40B4-BE49-F238E27FC236}">
                    <a16:creationId xmlns:a16="http://schemas.microsoft.com/office/drawing/2014/main" id="{EDEDB0B0-487E-4656-82AD-20B3D5F6EE9A}"/>
                  </a:ext>
                </a:extLst>
              </p:cNvPr>
              <p:cNvSpPr txBox="1"/>
              <p:nvPr/>
            </p:nvSpPr>
            <p:spPr>
              <a:xfrm>
                <a:off x="1400472" y="4219470"/>
                <a:ext cx="1554480" cy="461665"/>
              </a:xfrm>
              <a:prstGeom prst="rect">
                <a:avLst/>
              </a:prstGeom>
              <a:noFill/>
            </p:spPr>
            <p:txBody>
              <a:bodyPr wrap="square" rtlCol="0">
                <a:spAutoFit/>
              </a:bodyPr>
              <a:lstStyle/>
              <a:p>
                <a:pPr marL="0" marR="0" lvl="0" indent="0" algn="l" defTabSz="12176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Verdana"/>
                    <a:ea typeface="Roboto" panose="02000000000000000000" pitchFamily="2" charset="0"/>
                    <a:cs typeface="+mn-cs"/>
                  </a:rPr>
                  <a:t>customer 360 audiences / CDP</a:t>
                </a:r>
              </a:p>
            </p:txBody>
          </p:sp>
          <p:pic>
            <p:nvPicPr>
              <p:cNvPr id="86" name="Picture 2" descr="Image result for salesforce logo">
                <a:extLst>
                  <a:ext uri="{FF2B5EF4-FFF2-40B4-BE49-F238E27FC236}">
                    <a16:creationId xmlns:a16="http://schemas.microsoft.com/office/drawing/2014/main" id="{ED8DC0FF-8B07-46CA-B5F3-2736F3707E3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5502" y="4249807"/>
                <a:ext cx="572807" cy="400993"/>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TextBox 12">
              <a:extLst>
                <a:ext uri="{FF2B5EF4-FFF2-40B4-BE49-F238E27FC236}">
                  <a16:creationId xmlns:a16="http://schemas.microsoft.com/office/drawing/2014/main" id="{E3678D8C-2E8C-48D7-B0B1-10A68AB839AB}"/>
                </a:ext>
              </a:extLst>
            </p:cNvPr>
            <p:cNvSpPr txBox="1"/>
            <p:nvPr/>
          </p:nvSpPr>
          <p:spPr>
            <a:xfrm>
              <a:off x="728346" y="2859179"/>
              <a:ext cx="2064824" cy="338554"/>
            </a:xfrm>
            <a:prstGeom prst="rect">
              <a:avLst/>
            </a:prstGeom>
            <a:noFill/>
          </p:spPr>
          <p:txBody>
            <a:bodyPr wrap="square" rtlCol="0">
              <a:spAutoFit/>
            </a:bodyPr>
            <a:lstStyle/>
            <a:p>
              <a:pPr marL="0" marR="0" lvl="0" indent="0" algn="ctr" defTabSz="1217613"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300" normalizeH="0" baseline="0" noProof="0" dirty="0">
                  <a:ln>
                    <a:noFill/>
                  </a:ln>
                  <a:solidFill>
                    <a:srgbClr val="A5A5A5">
                      <a:lumMod val="50000"/>
                    </a:srgbClr>
                  </a:solidFill>
                  <a:effectLst/>
                  <a:uLnTx/>
                  <a:uFillTx/>
                  <a:latin typeface="Verdana"/>
                  <a:ea typeface="+mn-ea"/>
                  <a:cs typeface="+mn-cs"/>
                </a:rPr>
                <a:t>MOBILE APP ENGAGEMENT DATA</a:t>
              </a:r>
            </a:p>
          </p:txBody>
        </p:sp>
        <p:sp>
          <p:nvSpPr>
            <p:cNvPr id="14" name="object 16">
              <a:extLst>
                <a:ext uri="{FF2B5EF4-FFF2-40B4-BE49-F238E27FC236}">
                  <a16:creationId xmlns:a16="http://schemas.microsoft.com/office/drawing/2014/main" id="{CC5FC3D9-7CBC-491B-A25B-E7FAE2362568}"/>
                </a:ext>
              </a:extLst>
            </p:cNvPr>
            <p:cNvSpPr/>
            <p:nvPr/>
          </p:nvSpPr>
          <p:spPr>
            <a:xfrm>
              <a:off x="542307" y="1648555"/>
              <a:ext cx="2436902" cy="374596"/>
            </a:xfrm>
            <a:custGeom>
              <a:avLst/>
              <a:gdLst/>
              <a:ahLst/>
              <a:cxnLst/>
              <a:rect l="l" t="t" r="r" b="b"/>
              <a:pathLst>
                <a:path w="1673860" h="1160145">
                  <a:moveTo>
                    <a:pt x="0" y="1159763"/>
                  </a:moveTo>
                  <a:lnTo>
                    <a:pt x="1673352" y="1159763"/>
                  </a:lnTo>
                  <a:lnTo>
                    <a:pt x="1673352" y="0"/>
                  </a:lnTo>
                  <a:lnTo>
                    <a:pt x="0" y="0"/>
                  </a:lnTo>
                  <a:lnTo>
                    <a:pt x="0" y="1159763"/>
                  </a:lnTo>
                  <a:close/>
                </a:path>
              </a:pathLst>
            </a:custGeom>
            <a:solidFill>
              <a:schemeClr val="accent1">
                <a:lumMod val="20000"/>
                <a:lumOff val="80000"/>
              </a:schemeClr>
            </a:solidFill>
            <a:ln w="38100">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15" name="object 19">
              <a:extLst>
                <a:ext uri="{FF2B5EF4-FFF2-40B4-BE49-F238E27FC236}">
                  <a16:creationId xmlns:a16="http://schemas.microsoft.com/office/drawing/2014/main" id="{28474B5E-D78E-4E1E-B684-2D6A47CA28D4}"/>
                </a:ext>
              </a:extLst>
            </p:cNvPr>
            <p:cNvSpPr/>
            <p:nvPr/>
          </p:nvSpPr>
          <p:spPr>
            <a:xfrm>
              <a:off x="3194015" y="1654932"/>
              <a:ext cx="4906237" cy="348371"/>
            </a:xfrm>
            <a:custGeom>
              <a:avLst/>
              <a:gdLst/>
              <a:ahLst/>
              <a:cxnLst/>
              <a:rect l="l" t="t" r="r" b="b"/>
              <a:pathLst>
                <a:path w="1675129" h="1160145">
                  <a:moveTo>
                    <a:pt x="0" y="1159763"/>
                  </a:moveTo>
                  <a:lnTo>
                    <a:pt x="1674876" y="1159763"/>
                  </a:lnTo>
                  <a:lnTo>
                    <a:pt x="1674876" y="0"/>
                  </a:lnTo>
                  <a:lnTo>
                    <a:pt x="0" y="0"/>
                  </a:lnTo>
                  <a:lnTo>
                    <a:pt x="0" y="1159763"/>
                  </a:lnTo>
                  <a:close/>
                </a:path>
              </a:pathLst>
            </a:custGeom>
            <a:solidFill>
              <a:schemeClr val="accent3">
                <a:lumMod val="20000"/>
                <a:lumOff val="80000"/>
              </a:schemeClr>
            </a:solidFill>
            <a:ln w="38100">
              <a:solidFill>
                <a:schemeClr val="accent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16" name="object 22">
              <a:extLst>
                <a:ext uri="{FF2B5EF4-FFF2-40B4-BE49-F238E27FC236}">
                  <a16:creationId xmlns:a16="http://schemas.microsoft.com/office/drawing/2014/main" id="{48C7C57B-67D0-4819-85C3-2E9F164F71DA}"/>
                </a:ext>
              </a:extLst>
            </p:cNvPr>
            <p:cNvSpPr/>
            <p:nvPr/>
          </p:nvSpPr>
          <p:spPr>
            <a:xfrm>
              <a:off x="8374573" y="1629663"/>
              <a:ext cx="3498680" cy="383099"/>
            </a:xfrm>
            <a:custGeom>
              <a:avLst/>
              <a:gdLst/>
              <a:ahLst/>
              <a:cxnLst/>
              <a:rect l="l" t="t" r="r" b="b"/>
              <a:pathLst>
                <a:path w="1673859" h="1160145">
                  <a:moveTo>
                    <a:pt x="0" y="1159763"/>
                  </a:moveTo>
                  <a:lnTo>
                    <a:pt x="1673352" y="1159763"/>
                  </a:lnTo>
                  <a:lnTo>
                    <a:pt x="1673352" y="0"/>
                  </a:lnTo>
                  <a:lnTo>
                    <a:pt x="0" y="0"/>
                  </a:lnTo>
                  <a:lnTo>
                    <a:pt x="0" y="1159763"/>
                  </a:lnTo>
                  <a:close/>
                </a:path>
              </a:pathLst>
            </a:custGeom>
            <a:solidFill>
              <a:srgbClr val="FFEFC1"/>
            </a:solidFill>
            <a:ln w="38100">
              <a:solidFill>
                <a:srgbClr val="FCD2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grpSp>
          <p:nvGrpSpPr>
            <p:cNvPr id="17" name="Group 16">
              <a:extLst>
                <a:ext uri="{FF2B5EF4-FFF2-40B4-BE49-F238E27FC236}">
                  <a16:creationId xmlns:a16="http://schemas.microsoft.com/office/drawing/2014/main" id="{C86C95D8-AC05-4186-9309-44C7DDC840CD}"/>
                </a:ext>
              </a:extLst>
            </p:cNvPr>
            <p:cNvGrpSpPr/>
            <p:nvPr/>
          </p:nvGrpSpPr>
          <p:grpSpPr>
            <a:xfrm>
              <a:off x="8563995" y="1668098"/>
              <a:ext cx="3328319" cy="325120"/>
              <a:chOff x="7921146" y="1558001"/>
              <a:chExt cx="3328319" cy="325120"/>
            </a:xfrm>
          </p:grpSpPr>
          <p:sp>
            <p:nvSpPr>
              <p:cNvPr id="82" name="object 24">
                <a:extLst>
                  <a:ext uri="{FF2B5EF4-FFF2-40B4-BE49-F238E27FC236}">
                    <a16:creationId xmlns:a16="http://schemas.microsoft.com/office/drawing/2014/main" id="{6F13FB23-F9C8-4DC6-8E02-D2026326DC4A}"/>
                  </a:ext>
                </a:extLst>
              </p:cNvPr>
              <p:cNvSpPr txBox="1"/>
              <p:nvPr/>
            </p:nvSpPr>
            <p:spPr>
              <a:xfrm>
                <a:off x="8093131" y="1621816"/>
                <a:ext cx="3156334" cy="174407"/>
              </a:xfrm>
              <a:prstGeom prst="rect">
                <a:avLst/>
              </a:prstGeom>
            </p:spPr>
            <p:txBody>
              <a:bodyPr vert="horz" wrap="square" lIns="0" tIns="12700" rIns="0" bIns="0" rtlCol="0">
                <a:spAutoFit/>
              </a:bodyPr>
              <a:lstStyle/>
              <a:p>
                <a:pPr marL="64135" marR="5080" lvl="0" indent="-52069" algn="ctr" defTabSz="914400" rtl="0" eaLnBrk="1" fontAlgn="auto" latinLnBrk="0" hangingPunct="1">
                  <a:lnSpc>
                    <a:spcPct val="100000"/>
                  </a:lnSpc>
                  <a:spcBef>
                    <a:spcPts val="100"/>
                  </a:spcBef>
                  <a:spcAft>
                    <a:spcPts val="0"/>
                  </a:spcAft>
                  <a:buClrTx/>
                  <a:buSzTx/>
                  <a:buFontTx/>
                  <a:buNone/>
                  <a:tabLst/>
                  <a:defRPr/>
                </a:pPr>
                <a:r>
                  <a:rPr kumimoji="0" lang="en-US" sz="1050" b="1" i="0" u="none" strike="noStrike" kern="1200" cap="none" normalizeH="0" baseline="0" noProof="0" dirty="0">
                    <a:ln>
                      <a:noFill/>
                    </a:ln>
                    <a:solidFill>
                      <a:srgbClr val="696057"/>
                    </a:solidFill>
                    <a:effectLst/>
                    <a:uLnTx/>
                    <a:uFillTx/>
                    <a:ea typeface="+mn-ea"/>
                    <a:cs typeface="Open Sans"/>
                  </a:rPr>
                  <a:t>DELIVERY: CONTENT AND CHANNELS</a:t>
                </a:r>
                <a:endParaRPr kumimoji="0" lang="en-US" sz="1050" b="0" i="0" u="none" strike="noStrike" kern="1200" cap="none" normalizeH="0" baseline="0" noProof="0" dirty="0">
                  <a:ln>
                    <a:noFill/>
                  </a:ln>
                  <a:solidFill>
                    <a:srgbClr val="696057"/>
                  </a:solidFill>
                  <a:effectLst/>
                  <a:uLnTx/>
                  <a:uFillTx/>
                  <a:ea typeface="+mn-ea"/>
                  <a:cs typeface="Open Sans"/>
                </a:endParaRPr>
              </a:p>
            </p:txBody>
          </p:sp>
          <p:sp>
            <p:nvSpPr>
              <p:cNvPr id="83" name="object 30">
                <a:extLst>
                  <a:ext uri="{FF2B5EF4-FFF2-40B4-BE49-F238E27FC236}">
                    <a16:creationId xmlns:a16="http://schemas.microsoft.com/office/drawing/2014/main" id="{19D9E168-F8CD-4549-A586-BE421FDA71D3}"/>
                  </a:ext>
                </a:extLst>
              </p:cNvPr>
              <p:cNvSpPr/>
              <p:nvPr/>
            </p:nvSpPr>
            <p:spPr>
              <a:xfrm>
                <a:off x="7921146" y="1558001"/>
                <a:ext cx="323215" cy="325120"/>
              </a:xfrm>
              <a:custGeom>
                <a:avLst/>
                <a:gdLst/>
                <a:ahLst/>
                <a:cxnLst/>
                <a:rect l="l" t="t" r="r" b="b"/>
                <a:pathLst>
                  <a:path w="323215" h="325120">
                    <a:moveTo>
                      <a:pt x="169672" y="0"/>
                    </a:moveTo>
                    <a:lnTo>
                      <a:pt x="152907" y="0"/>
                    </a:lnTo>
                    <a:lnTo>
                      <a:pt x="145161" y="508"/>
                    </a:lnTo>
                    <a:lnTo>
                      <a:pt x="137287" y="2032"/>
                    </a:lnTo>
                    <a:lnTo>
                      <a:pt x="128397" y="3429"/>
                    </a:lnTo>
                    <a:lnTo>
                      <a:pt x="121539" y="5461"/>
                    </a:lnTo>
                    <a:lnTo>
                      <a:pt x="113283" y="7366"/>
                    </a:lnTo>
                    <a:lnTo>
                      <a:pt x="99060" y="12827"/>
                    </a:lnTo>
                    <a:lnTo>
                      <a:pt x="58800" y="37084"/>
                    </a:lnTo>
                    <a:lnTo>
                      <a:pt x="27940" y="71628"/>
                    </a:lnTo>
                    <a:lnTo>
                      <a:pt x="7366" y="114173"/>
                    </a:lnTo>
                    <a:lnTo>
                      <a:pt x="1016" y="146304"/>
                    </a:lnTo>
                    <a:lnTo>
                      <a:pt x="0" y="154178"/>
                    </a:lnTo>
                    <a:lnTo>
                      <a:pt x="0" y="170434"/>
                    </a:lnTo>
                    <a:lnTo>
                      <a:pt x="1904" y="187198"/>
                    </a:lnTo>
                    <a:lnTo>
                      <a:pt x="12700" y="225806"/>
                    </a:lnTo>
                    <a:lnTo>
                      <a:pt x="37211" y="265811"/>
                    </a:lnTo>
                    <a:lnTo>
                      <a:pt x="71120" y="297434"/>
                    </a:lnTo>
                    <a:lnTo>
                      <a:pt x="113283" y="317754"/>
                    </a:lnTo>
                    <a:lnTo>
                      <a:pt x="152907" y="324612"/>
                    </a:lnTo>
                    <a:lnTo>
                      <a:pt x="169672" y="324612"/>
                    </a:lnTo>
                    <a:lnTo>
                      <a:pt x="185800" y="323596"/>
                    </a:lnTo>
                    <a:lnTo>
                      <a:pt x="193675" y="321691"/>
                    </a:lnTo>
                    <a:lnTo>
                      <a:pt x="201929" y="320167"/>
                    </a:lnTo>
                    <a:lnTo>
                      <a:pt x="208915" y="317754"/>
                    </a:lnTo>
                    <a:lnTo>
                      <a:pt x="224027" y="312293"/>
                    </a:lnTo>
                    <a:lnTo>
                      <a:pt x="235748" y="306324"/>
                    </a:lnTo>
                    <a:lnTo>
                      <a:pt x="161798" y="306324"/>
                    </a:lnTo>
                    <a:lnTo>
                      <a:pt x="147066" y="305308"/>
                    </a:lnTo>
                    <a:lnTo>
                      <a:pt x="105410" y="295021"/>
                    </a:lnTo>
                    <a:lnTo>
                      <a:pt x="70612" y="273685"/>
                    </a:lnTo>
                    <a:lnTo>
                      <a:pt x="43179" y="243078"/>
                    </a:lnTo>
                    <a:lnTo>
                      <a:pt x="25019" y="205105"/>
                    </a:lnTo>
                    <a:lnTo>
                      <a:pt x="18669" y="162560"/>
                    </a:lnTo>
                    <a:lnTo>
                      <a:pt x="19176" y="148209"/>
                    </a:lnTo>
                    <a:lnTo>
                      <a:pt x="29845" y="106172"/>
                    </a:lnTo>
                    <a:lnTo>
                      <a:pt x="51435" y="71120"/>
                    </a:lnTo>
                    <a:lnTo>
                      <a:pt x="81915" y="42926"/>
                    </a:lnTo>
                    <a:lnTo>
                      <a:pt x="118618" y="25146"/>
                    </a:lnTo>
                    <a:lnTo>
                      <a:pt x="161798" y="18796"/>
                    </a:lnTo>
                    <a:lnTo>
                      <a:pt x="236668" y="18796"/>
                    </a:lnTo>
                    <a:lnTo>
                      <a:pt x="224027" y="12827"/>
                    </a:lnTo>
                    <a:lnTo>
                      <a:pt x="208915" y="7366"/>
                    </a:lnTo>
                    <a:lnTo>
                      <a:pt x="201929" y="5461"/>
                    </a:lnTo>
                    <a:lnTo>
                      <a:pt x="193675" y="3429"/>
                    </a:lnTo>
                    <a:lnTo>
                      <a:pt x="185800" y="2032"/>
                    </a:lnTo>
                    <a:lnTo>
                      <a:pt x="177926" y="508"/>
                    </a:lnTo>
                    <a:lnTo>
                      <a:pt x="169672" y="0"/>
                    </a:lnTo>
                    <a:close/>
                  </a:path>
                  <a:path w="323215" h="325120">
                    <a:moveTo>
                      <a:pt x="236668" y="18796"/>
                    </a:moveTo>
                    <a:lnTo>
                      <a:pt x="161798" y="18796"/>
                    </a:lnTo>
                    <a:lnTo>
                      <a:pt x="176022" y="19304"/>
                    </a:lnTo>
                    <a:lnTo>
                      <a:pt x="189738" y="21209"/>
                    </a:lnTo>
                    <a:lnTo>
                      <a:pt x="229489" y="36068"/>
                    </a:lnTo>
                    <a:lnTo>
                      <a:pt x="262254" y="60325"/>
                    </a:lnTo>
                    <a:lnTo>
                      <a:pt x="286766" y="93853"/>
                    </a:lnTo>
                    <a:lnTo>
                      <a:pt x="300990" y="133350"/>
                    </a:lnTo>
                    <a:lnTo>
                      <a:pt x="304419" y="162560"/>
                    </a:lnTo>
                    <a:lnTo>
                      <a:pt x="303529" y="177419"/>
                    </a:lnTo>
                    <a:lnTo>
                      <a:pt x="292735" y="218440"/>
                    </a:lnTo>
                    <a:lnTo>
                      <a:pt x="271652" y="253492"/>
                    </a:lnTo>
                    <a:lnTo>
                      <a:pt x="241173" y="281686"/>
                    </a:lnTo>
                    <a:lnTo>
                      <a:pt x="203962" y="300355"/>
                    </a:lnTo>
                    <a:lnTo>
                      <a:pt x="161798" y="306324"/>
                    </a:lnTo>
                    <a:lnTo>
                      <a:pt x="235748" y="306324"/>
                    </a:lnTo>
                    <a:lnTo>
                      <a:pt x="275590" y="277622"/>
                    </a:lnTo>
                    <a:lnTo>
                      <a:pt x="303529" y="239649"/>
                    </a:lnTo>
                    <a:lnTo>
                      <a:pt x="317753" y="203073"/>
                    </a:lnTo>
                    <a:lnTo>
                      <a:pt x="321564" y="179324"/>
                    </a:lnTo>
                    <a:lnTo>
                      <a:pt x="322579" y="170434"/>
                    </a:lnTo>
                    <a:lnTo>
                      <a:pt x="323088" y="162560"/>
                    </a:lnTo>
                    <a:lnTo>
                      <a:pt x="322579" y="154178"/>
                    </a:lnTo>
                    <a:lnTo>
                      <a:pt x="321564" y="146304"/>
                    </a:lnTo>
                    <a:lnTo>
                      <a:pt x="321182" y="137414"/>
                    </a:lnTo>
                    <a:lnTo>
                      <a:pt x="309879" y="98806"/>
                    </a:lnTo>
                    <a:lnTo>
                      <a:pt x="286257" y="59309"/>
                    </a:lnTo>
                    <a:lnTo>
                      <a:pt x="251968" y="28194"/>
                    </a:lnTo>
                    <a:lnTo>
                      <a:pt x="237744" y="19304"/>
                    </a:lnTo>
                    <a:lnTo>
                      <a:pt x="236668" y="18796"/>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84" name="object 31">
                <a:extLst>
                  <a:ext uri="{FF2B5EF4-FFF2-40B4-BE49-F238E27FC236}">
                    <a16:creationId xmlns:a16="http://schemas.microsoft.com/office/drawing/2014/main" id="{34F1435A-4D86-45D7-9887-07B51FDEBE07}"/>
                  </a:ext>
                </a:extLst>
              </p:cNvPr>
              <p:cNvSpPr/>
              <p:nvPr/>
            </p:nvSpPr>
            <p:spPr>
              <a:xfrm>
                <a:off x="7998870" y="1648933"/>
                <a:ext cx="147827" cy="143256"/>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grpSp>
        <p:grpSp>
          <p:nvGrpSpPr>
            <p:cNvPr id="18" name="Group 17">
              <a:extLst>
                <a:ext uri="{FF2B5EF4-FFF2-40B4-BE49-F238E27FC236}">
                  <a16:creationId xmlns:a16="http://schemas.microsoft.com/office/drawing/2014/main" id="{FB3F5E99-D132-4AED-9317-65CA753CB261}"/>
                </a:ext>
              </a:extLst>
            </p:cNvPr>
            <p:cNvGrpSpPr/>
            <p:nvPr/>
          </p:nvGrpSpPr>
          <p:grpSpPr>
            <a:xfrm>
              <a:off x="1331928" y="1668098"/>
              <a:ext cx="857661" cy="325120"/>
              <a:chOff x="1360488" y="1547841"/>
              <a:chExt cx="857661" cy="325120"/>
            </a:xfrm>
          </p:grpSpPr>
          <p:sp>
            <p:nvSpPr>
              <p:cNvPr id="79" name="object 18">
                <a:extLst>
                  <a:ext uri="{FF2B5EF4-FFF2-40B4-BE49-F238E27FC236}">
                    <a16:creationId xmlns:a16="http://schemas.microsoft.com/office/drawing/2014/main" id="{9406D351-0355-4115-A6AE-4FB3635B9935}"/>
                  </a:ext>
                </a:extLst>
              </p:cNvPr>
              <p:cNvSpPr txBox="1"/>
              <p:nvPr/>
            </p:nvSpPr>
            <p:spPr>
              <a:xfrm>
                <a:off x="1805399" y="1611656"/>
                <a:ext cx="412750" cy="174407"/>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050" b="1" i="0" u="none" strike="noStrike" kern="1200" cap="none" normalizeH="0" baseline="0" noProof="0" dirty="0">
                    <a:ln>
                      <a:noFill/>
                    </a:ln>
                    <a:solidFill>
                      <a:srgbClr val="696057"/>
                    </a:solidFill>
                    <a:effectLst/>
                    <a:uLnTx/>
                    <a:uFillTx/>
                    <a:ea typeface="+mn-ea"/>
                    <a:cs typeface="Open Sans"/>
                  </a:rPr>
                  <a:t>DATA</a:t>
                </a:r>
                <a:endParaRPr kumimoji="0" sz="1050" b="0" i="0" u="none" strike="noStrike" kern="1200" cap="none" normalizeH="0" baseline="0" noProof="0" dirty="0">
                  <a:ln>
                    <a:noFill/>
                  </a:ln>
                  <a:solidFill>
                    <a:srgbClr val="696057"/>
                  </a:solidFill>
                  <a:effectLst/>
                  <a:uLnTx/>
                  <a:uFillTx/>
                  <a:ea typeface="+mn-ea"/>
                  <a:cs typeface="Open Sans"/>
                </a:endParaRPr>
              </a:p>
            </p:txBody>
          </p:sp>
          <p:sp>
            <p:nvSpPr>
              <p:cNvPr id="80" name="object 36">
                <a:extLst>
                  <a:ext uri="{FF2B5EF4-FFF2-40B4-BE49-F238E27FC236}">
                    <a16:creationId xmlns:a16="http://schemas.microsoft.com/office/drawing/2014/main" id="{9076BD41-79A9-46E5-8483-F9F3E6F239CD}"/>
                  </a:ext>
                </a:extLst>
              </p:cNvPr>
              <p:cNvSpPr/>
              <p:nvPr/>
            </p:nvSpPr>
            <p:spPr>
              <a:xfrm>
                <a:off x="1360488" y="1547841"/>
                <a:ext cx="323215" cy="325120"/>
              </a:xfrm>
              <a:custGeom>
                <a:avLst/>
                <a:gdLst/>
                <a:ahLst/>
                <a:cxnLst/>
                <a:rect l="l" t="t" r="r" b="b"/>
                <a:pathLst>
                  <a:path w="323214" h="325120">
                    <a:moveTo>
                      <a:pt x="161543" y="0"/>
                    </a:moveTo>
                    <a:lnTo>
                      <a:pt x="153669" y="1016"/>
                    </a:lnTo>
                    <a:lnTo>
                      <a:pt x="137032" y="2032"/>
                    </a:lnTo>
                    <a:lnTo>
                      <a:pt x="129158" y="3429"/>
                    </a:lnTo>
                    <a:lnTo>
                      <a:pt x="84962" y="20193"/>
                    </a:lnTo>
                    <a:lnTo>
                      <a:pt x="47116" y="47879"/>
                    </a:lnTo>
                    <a:lnTo>
                      <a:pt x="19685" y="85852"/>
                    </a:lnTo>
                    <a:lnTo>
                      <a:pt x="4952" y="121793"/>
                    </a:lnTo>
                    <a:lnTo>
                      <a:pt x="507" y="154432"/>
                    </a:lnTo>
                    <a:lnTo>
                      <a:pt x="0" y="162306"/>
                    </a:lnTo>
                    <a:lnTo>
                      <a:pt x="4952" y="202819"/>
                    </a:lnTo>
                    <a:lnTo>
                      <a:pt x="19685" y="240284"/>
                    </a:lnTo>
                    <a:lnTo>
                      <a:pt x="47116" y="277241"/>
                    </a:lnTo>
                    <a:lnTo>
                      <a:pt x="84962" y="304927"/>
                    </a:lnTo>
                    <a:lnTo>
                      <a:pt x="129158" y="321691"/>
                    </a:lnTo>
                    <a:lnTo>
                      <a:pt x="137032" y="322580"/>
                    </a:lnTo>
                    <a:lnTo>
                      <a:pt x="144906" y="324104"/>
                    </a:lnTo>
                    <a:lnTo>
                      <a:pt x="153669" y="324612"/>
                    </a:lnTo>
                    <a:lnTo>
                      <a:pt x="169925" y="324612"/>
                    </a:lnTo>
                    <a:lnTo>
                      <a:pt x="177800" y="324104"/>
                    </a:lnTo>
                    <a:lnTo>
                      <a:pt x="186054" y="322580"/>
                    </a:lnTo>
                    <a:lnTo>
                      <a:pt x="194437" y="321691"/>
                    </a:lnTo>
                    <a:lnTo>
                      <a:pt x="201802" y="319659"/>
                    </a:lnTo>
                    <a:lnTo>
                      <a:pt x="209676" y="317754"/>
                    </a:lnTo>
                    <a:lnTo>
                      <a:pt x="223900" y="312293"/>
                    </a:lnTo>
                    <a:lnTo>
                      <a:pt x="235838" y="306324"/>
                    </a:lnTo>
                    <a:lnTo>
                      <a:pt x="161543" y="306324"/>
                    </a:lnTo>
                    <a:lnTo>
                      <a:pt x="146812" y="305816"/>
                    </a:lnTo>
                    <a:lnTo>
                      <a:pt x="106044" y="295021"/>
                    </a:lnTo>
                    <a:lnTo>
                      <a:pt x="70230" y="273304"/>
                    </a:lnTo>
                    <a:lnTo>
                      <a:pt x="43179" y="242697"/>
                    </a:lnTo>
                    <a:lnTo>
                      <a:pt x="25018" y="205740"/>
                    </a:lnTo>
                    <a:lnTo>
                      <a:pt x="18161" y="162306"/>
                    </a:lnTo>
                    <a:lnTo>
                      <a:pt x="19685" y="147955"/>
                    </a:lnTo>
                    <a:lnTo>
                      <a:pt x="30479" y="107061"/>
                    </a:lnTo>
                    <a:lnTo>
                      <a:pt x="51562" y="70993"/>
                    </a:lnTo>
                    <a:lnTo>
                      <a:pt x="81533" y="43942"/>
                    </a:lnTo>
                    <a:lnTo>
                      <a:pt x="119379" y="25146"/>
                    </a:lnTo>
                    <a:lnTo>
                      <a:pt x="161543" y="18796"/>
                    </a:lnTo>
                    <a:lnTo>
                      <a:pt x="235632" y="18796"/>
                    </a:lnTo>
                    <a:lnTo>
                      <a:pt x="223900" y="13335"/>
                    </a:lnTo>
                    <a:lnTo>
                      <a:pt x="209676" y="7366"/>
                    </a:lnTo>
                    <a:lnTo>
                      <a:pt x="201802" y="5461"/>
                    </a:lnTo>
                    <a:lnTo>
                      <a:pt x="194437" y="3429"/>
                    </a:lnTo>
                    <a:lnTo>
                      <a:pt x="186054" y="2032"/>
                    </a:lnTo>
                    <a:lnTo>
                      <a:pt x="169925" y="1016"/>
                    </a:lnTo>
                    <a:lnTo>
                      <a:pt x="161543" y="0"/>
                    </a:lnTo>
                    <a:close/>
                  </a:path>
                  <a:path w="323214" h="325120">
                    <a:moveTo>
                      <a:pt x="235632" y="18796"/>
                    </a:moveTo>
                    <a:lnTo>
                      <a:pt x="161543" y="18796"/>
                    </a:lnTo>
                    <a:lnTo>
                      <a:pt x="175767" y="20193"/>
                    </a:lnTo>
                    <a:lnTo>
                      <a:pt x="190500" y="22225"/>
                    </a:lnTo>
                    <a:lnTo>
                      <a:pt x="229362" y="36449"/>
                    </a:lnTo>
                    <a:lnTo>
                      <a:pt x="262254" y="61214"/>
                    </a:lnTo>
                    <a:lnTo>
                      <a:pt x="287274" y="94234"/>
                    </a:lnTo>
                    <a:lnTo>
                      <a:pt x="302005" y="134239"/>
                    </a:lnTo>
                    <a:lnTo>
                      <a:pt x="304418" y="162306"/>
                    </a:lnTo>
                    <a:lnTo>
                      <a:pt x="303911" y="177165"/>
                    </a:lnTo>
                    <a:lnTo>
                      <a:pt x="293115" y="219075"/>
                    </a:lnTo>
                    <a:lnTo>
                      <a:pt x="271525" y="254127"/>
                    </a:lnTo>
                    <a:lnTo>
                      <a:pt x="241045" y="281686"/>
                    </a:lnTo>
                    <a:lnTo>
                      <a:pt x="204215" y="299466"/>
                    </a:lnTo>
                    <a:lnTo>
                      <a:pt x="161543" y="306324"/>
                    </a:lnTo>
                    <a:lnTo>
                      <a:pt x="235838" y="306324"/>
                    </a:lnTo>
                    <a:lnTo>
                      <a:pt x="275463" y="277241"/>
                    </a:lnTo>
                    <a:lnTo>
                      <a:pt x="303402" y="240284"/>
                    </a:lnTo>
                    <a:lnTo>
                      <a:pt x="317626" y="202819"/>
                    </a:lnTo>
                    <a:lnTo>
                      <a:pt x="319658" y="194818"/>
                    </a:lnTo>
                    <a:lnTo>
                      <a:pt x="321182" y="186944"/>
                    </a:lnTo>
                    <a:lnTo>
                      <a:pt x="322579" y="179070"/>
                    </a:lnTo>
                    <a:lnTo>
                      <a:pt x="323088" y="171196"/>
                    </a:lnTo>
                    <a:lnTo>
                      <a:pt x="323088" y="154432"/>
                    </a:lnTo>
                    <a:lnTo>
                      <a:pt x="315721" y="114935"/>
                    </a:lnTo>
                    <a:lnTo>
                      <a:pt x="295148" y="71501"/>
                    </a:lnTo>
                    <a:lnTo>
                      <a:pt x="264160" y="37465"/>
                    </a:lnTo>
                    <a:lnTo>
                      <a:pt x="238632" y="20193"/>
                    </a:lnTo>
                    <a:lnTo>
                      <a:pt x="235632" y="18796"/>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81" name="object 37">
                <a:extLst>
                  <a:ext uri="{FF2B5EF4-FFF2-40B4-BE49-F238E27FC236}">
                    <a16:creationId xmlns:a16="http://schemas.microsoft.com/office/drawing/2014/main" id="{44F9A6EE-4DEB-4CA7-ADF6-7497B1E5CD94}"/>
                  </a:ext>
                </a:extLst>
              </p:cNvPr>
              <p:cNvSpPr/>
              <p:nvPr/>
            </p:nvSpPr>
            <p:spPr>
              <a:xfrm>
                <a:off x="1447356" y="1634964"/>
                <a:ext cx="152400" cy="150875"/>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grpSp>
        <p:grpSp>
          <p:nvGrpSpPr>
            <p:cNvPr id="19" name="Group 18">
              <a:extLst>
                <a:ext uri="{FF2B5EF4-FFF2-40B4-BE49-F238E27FC236}">
                  <a16:creationId xmlns:a16="http://schemas.microsoft.com/office/drawing/2014/main" id="{786240D5-ED1E-4EAB-A4F8-C66BA4ED5B09}"/>
                </a:ext>
              </a:extLst>
            </p:cNvPr>
            <p:cNvGrpSpPr/>
            <p:nvPr/>
          </p:nvGrpSpPr>
          <p:grpSpPr>
            <a:xfrm>
              <a:off x="4401516" y="1668098"/>
              <a:ext cx="2731117" cy="325120"/>
              <a:chOff x="3358359" y="1558001"/>
              <a:chExt cx="2731117" cy="325120"/>
            </a:xfrm>
          </p:grpSpPr>
          <p:sp>
            <p:nvSpPr>
              <p:cNvPr id="76" name="object 21">
                <a:extLst>
                  <a:ext uri="{FF2B5EF4-FFF2-40B4-BE49-F238E27FC236}">
                    <a16:creationId xmlns:a16="http://schemas.microsoft.com/office/drawing/2014/main" id="{F413C851-9264-4F96-A723-A3C05D6F6BF0}"/>
                  </a:ext>
                </a:extLst>
              </p:cNvPr>
              <p:cNvSpPr txBox="1"/>
              <p:nvPr/>
            </p:nvSpPr>
            <p:spPr>
              <a:xfrm>
                <a:off x="3803476" y="1632172"/>
                <a:ext cx="2286000" cy="174407"/>
              </a:xfrm>
              <a:prstGeom prst="rect">
                <a:avLst/>
              </a:prstGeom>
            </p:spPr>
            <p:txBody>
              <a:bodyPr vert="horz" wrap="square" lIns="0" tIns="12700" rIns="0" bIns="0" rtlCol="0">
                <a:spAutoFit/>
              </a:bodyPr>
              <a:lstStyle/>
              <a:p>
                <a:pPr marL="180340" marR="5080" lvl="0" indent="-167640" algn="l" defTabSz="914400" rtl="0" eaLnBrk="1" fontAlgn="auto" latinLnBrk="0" hangingPunct="1">
                  <a:lnSpc>
                    <a:spcPct val="100000"/>
                  </a:lnSpc>
                  <a:spcBef>
                    <a:spcPts val="100"/>
                  </a:spcBef>
                  <a:spcAft>
                    <a:spcPts val="0"/>
                  </a:spcAft>
                  <a:buClrTx/>
                  <a:buSzTx/>
                  <a:buFontTx/>
                  <a:buNone/>
                  <a:tabLst/>
                  <a:defRPr/>
                </a:pPr>
                <a:r>
                  <a:rPr kumimoji="0" lang="en-US" sz="1050" b="1" i="0" u="none" strike="noStrike" kern="1200" cap="none" normalizeH="0" baseline="0" noProof="0" dirty="0">
                    <a:ln>
                      <a:noFill/>
                    </a:ln>
                    <a:solidFill>
                      <a:srgbClr val="696057"/>
                    </a:solidFill>
                    <a:effectLst/>
                    <a:uLnTx/>
                    <a:uFillTx/>
                    <a:ea typeface="+mn-ea"/>
                    <a:cs typeface="Open Sans"/>
                  </a:rPr>
                  <a:t>DECISIONING &amp;  ANALYTICS</a:t>
                </a:r>
                <a:endParaRPr kumimoji="0" lang="en-US" sz="1050" b="0" i="0" u="none" strike="noStrike" kern="1200" cap="none" normalizeH="0" baseline="0" noProof="0" dirty="0">
                  <a:ln>
                    <a:noFill/>
                  </a:ln>
                  <a:solidFill>
                    <a:srgbClr val="696057"/>
                  </a:solidFill>
                  <a:effectLst/>
                  <a:uLnTx/>
                  <a:uFillTx/>
                  <a:ea typeface="+mn-ea"/>
                  <a:cs typeface="Open Sans"/>
                </a:endParaRPr>
              </a:p>
            </p:txBody>
          </p:sp>
          <p:sp>
            <p:nvSpPr>
              <p:cNvPr id="77" name="object 34">
                <a:extLst>
                  <a:ext uri="{FF2B5EF4-FFF2-40B4-BE49-F238E27FC236}">
                    <a16:creationId xmlns:a16="http://schemas.microsoft.com/office/drawing/2014/main" id="{269F7355-C8B4-4E3A-B33E-BA0792E7A3E4}"/>
                  </a:ext>
                </a:extLst>
              </p:cNvPr>
              <p:cNvSpPr/>
              <p:nvPr/>
            </p:nvSpPr>
            <p:spPr>
              <a:xfrm>
                <a:off x="3358359" y="1558001"/>
                <a:ext cx="325120" cy="325120"/>
              </a:xfrm>
              <a:custGeom>
                <a:avLst/>
                <a:gdLst/>
                <a:ahLst/>
                <a:cxnLst/>
                <a:rect l="l" t="t" r="r" b="b"/>
                <a:pathLst>
                  <a:path w="325120" h="325120">
                    <a:moveTo>
                      <a:pt x="170687" y="0"/>
                    </a:moveTo>
                    <a:lnTo>
                      <a:pt x="153923" y="0"/>
                    </a:lnTo>
                    <a:lnTo>
                      <a:pt x="137540" y="2032"/>
                    </a:lnTo>
                    <a:lnTo>
                      <a:pt x="98932" y="12827"/>
                    </a:lnTo>
                    <a:lnTo>
                      <a:pt x="58927" y="37084"/>
                    </a:lnTo>
                    <a:lnTo>
                      <a:pt x="27177" y="71628"/>
                    </a:lnTo>
                    <a:lnTo>
                      <a:pt x="7365" y="114173"/>
                    </a:lnTo>
                    <a:lnTo>
                      <a:pt x="4444" y="122047"/>
                    </a:lnTo>
                    <a:lnTo>
                      <a:pt x="3428" y="129412"/>
                    </a:lnTo>
                    <a:lnTo>
                      <a:pt x="1523" y="137795"/>
                    </a:lnTo>
                    <a:lnTo>
                      <a:pt x="507" y="146304"/>
                    </a:lnTo>
                    <a:lnTo>
                      <a:pt x="0" y="154178"/>
                    </a:lnTo>
                    <a:lnTo>
                      <a:pt x="0" y="170434"/>
                    </a:lnTo>
                    <a:lnTo>
                      <a:pt x="507" y="179324"/>
                    </a:lnTo>
                    <a:lnTo>
                      <a:pt x="1523" y="187198"/>
                    </a:lnTo>
                    <a:lnTo>
                      <a:pt x="3428" y="195199"/>
                    </a:lnTo>
                    <a:lnTo>
                      <a:pt x="4444" y="203073"/>
                    </a:lnTo>
                    <a:lnTo>
                      <a:pt x="7365" y="210439"/>
                    </a:lnTo>
                    <a:lnTo>
                      <a:pt x="12318" y="225806"/>
                    </a:lnTo>
                    <a:lnTo>
                      <a:pt x="19303" y="239649"/>
                    </a:lnTo>
                    <a:lnTo>
                      <a:pt x="46989" y="277241"/>
                    </a:lnTo>
                    <a:lnTo>
                      <a:pt x="85089" y="305308"/>
                    </a:lnTo>
                    <a:lnTo>
                      <a:pt x="121665" y="319659"/>
                    </a:lnTo>
                    <a:lnTo>
                      <a:pt x="145541" y="323596"/>
                    </a:lnTo>
                    <a:lnTo>
                      <a:pt x="153923" y="324612"/>
                    </a:lnTo>
                    <a:lnTo>
                      <a:pt x="170687" y="324612"/>
                    </a:lnTo>
                    <a:lnTo>
                      <a:pt x="178688" y="323596"/>
                    </a:lnTo>
                    <a:lnTo>
                      <a:pt x="187070" y="323088"/>
                    </a:lnTo>
                    <a:lnTo>
                      <a:pt x="225678" y="311785"/>
                    </a:lnTo>
                    <a:lnTo>
                      <a:pt x="238904" y="305816"/>
                    </a:lnTo>
                    <a:lnTo>
                      <a:pt x="161797" y="305816"/>
                    </a:lnTo>
                    <a:lnTo>
                      <a:pt x="147446" y="305308"/>
                    </a:lnTo>
                    <a:lnTo>
                      <a:pt x="106425" y="294513"/>
                    </a:lnTo>
                    <a:lnTo>
                      <a:pt x="71246" y="273177"/>
                    </a:lnTo>
                    <a:lnTo>
                      <a:pt x="43052" y="243078"/>
                    </a:lnTo>
                    <a:lnTo>
                      <a:pt x="24764" y="205105"/>
                    </a:lnTo>
                    <a:lnTo>
                      <a:pt x="18287" y="162560"/>
                    </a:lnTo>
                    <a:lnTo>
                      <a:pt x="19303" y="148209"/>
                    </a:lnTo>
                    <a:lnTo>
                      <a:pt x="29717" y="106172"/>
                    </a:lnTo>
                    <a:lnTo>
                      <a:pt x="50926" y="71120"/>
                    </a:lnTo>
                    <a:lnTo>
                      <a:pt x="81660" y="42926"/>
                    </a:lnTo>
                    <a:lnTo>
                      <a:pt x="119760" y="25146"/>
                    </a:lnTo>
                    <a:lnTo>
                      <a:pt x="161797" y="18796"/>
                    </a:lnTo>
                    <a:lnTo>
                      <a:pt x="237942" y="18796"/>
                    </a:lnTo>
                    <a:lnTo>
                      <a:pt x="225678" y="12827"/>
                    </a:lnTo>
                    <a:lnTo>
                      <a:pt x="210311" y="7366"/>
                    </a:lnTo>
                    <a:lnTo>
                      <a:pt x="202437" y="5461"/>
                    </a:lnTo>
                    <a:lnTo>
                      <a:pt x="195452" y="3429"/>
                    </a:lnTo>
                    <a:lnTo>
                      <a:pt x="187070" y="2032"/>
                    </a:lnTo>
                    <a:lnTo>
                      <a:pt x="170687" y="0"/>
                    </a:lnTo>
                    <a:close/>
                  </a:path>
                  <a:path w="325120" h="325120">
                    <a:moveTo>
                      <a:pt x="237942" y="18796"/>
                    </a:moveTo>
                    <a:lnTo>
                      <a:pt x="161797" y="18796"/>
                    </a:lnTo>
                    <a:lnTo>
                      <a:pt x="176656" y="19304"/>
                    </a:lnTo>
                    <a:lnTo>
                      <a:pt x="191515" y="21209"/>
                    </a:lnTo>
                    <a:lnTo>
                      <a:pt x="231139" y="36068"/>
                    </a:lnTo>
                    <a:lnTo>
                      <a:pt x="264286" y="61214"/>
                    </a:lnTo>
                    <a:lnTo>
                      <a:pt x="288925" y="93345"/>
                    </a:lnTo>
                    <a:lnTo>
                      <a:pt x="303275" y="133350"/>
                    </a:lnTo>
                    <a:lnTo>
                      <a:pt x="306323" y="162560"/>
                    </a:lnTo>
                    <a:lnTo>
                      <a:pt x="305307" y="177419"/>
                    </a:lnTo>
                    <a:lnTo>
                      <a:pt x="294893" y="218440"/>
                    </a:lnTo>
                    <a:lnTo>
                      <a:pt x="273684" y="254000"/>
                    </a:lnTo>
                    <a:lnTo>
                      <a:pt x="242442" y="281178"/>
                    </a:lnTo>
                    <a:lnTo>
                      <a:pt x="205358" y="299847"/>
                    </a:lnTo>
                    <a:lnTo>
                      <a:pt x="161797" y="305816"/>
                    </a:lnTo>
                    <a:lnTo>
                      <a:pt x="238904" y="305816"/>
                    </a:lnTo>
                    <a:lnTo>
                      <a:pt x="277113" y="277241"/>
                    </a:lnTo>
                    <a:lnTo>
                      <a:pt x="305307" y="239649"/>
                    </a:lnTo>
                    <a:lnTo>
                      <a:pt x="319658" y="203073"/>
                    </a:lnTo>
                    <a:lnTo>
                      <a:pt x="322579" y="187198"/>
                    </a:lnTo>
                    <a:lnTo>
                      <a:pt x="324103" y="179324"/>
                    </a:lnTo>
                    <a:lnTo>
                      <a:pt x="324611" y="170434"/>
                    </a:lnTo>
                    <a:lnTo>
                      <a:pt x="324611" y="154178"/>
                    </a:lnTo>
                    <a:lnTo>
                      <a:pt x="324103" y="146304"/>
                    </a:lnTo>
                    <a:lnTo>
                      <a:pt x="322579" y="137795"/>
                    </a:lnTo>
                    <a:lnTo>
                      <a:pt x="321690" y="129412"/>
                    </a:lnTo>
                    <a:lnTo>
                      <a:pt x="319658" y="122047"/>
                    </a:lnTo>
                    <a:lnTo>
                      <a:pt x="317626" y="114173"/>
                    </a:lnTo>
                    <a:lnTo>
                      <a:pt x="312292" y="99822"/>
                    </a:lnTo>
                    <a:lnTo>
                      <a:pt x="287527" y="59309"/>
                    </a:lnTo>
                    <a:lnTo>
                      <a:pt x="252856" y="28194"/>
                    </a:lnTo>
                    <a:lnTo>
                      <a:pt x="240029" y="19812"/>
                    </a:lnTo>
                    <a:lnTo>
                      <a:pt x="237942" y="18796"/>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sp>
            <p:nvSpPr>
              <p:cNvPr id="78" name="object 35">
                <a:extLst>
                  <a:ext uri="{FF2B5EF4-FFF2-40B4-BE49-F238E27FC236}">
                    <a16:creationId xmlns:a16="http://schemas.microsoft.com/office/drawing/2014/main" id="{1234611D-EDFE-47A8-BB6E-13C1C2993EE1}"/>
                  </a:ext>
                </a:extLst>
              </p:cNvPr>
              <p:cNvSpPr/>
              <p:nvPr/>
            </p:nvSpPr>
            <p:spPr>
              <a:xfrm>
                <a:off x="3452847" y="1652743"/>
                <a:ext cx="135635" cy="135636"/>
              </a:xfrm>
              <a:prstGeom prst="rect">
                <a:avLst/>
              </a:prstGeom>
              <a:blipFill>
                <a:blip r:embed="rId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696057"/>
                  </a:solidFill>
                  <a:effectLst/>
                  <a:uLnTx/>
                  <a:uFillTx/>
                  <a:latin typeface="Verdana"/>
                  <a:ea typeface="+mn-ea"/>
                  <a:cs typeface="+mn-cs"/>
                </a:endParaRPr>
              </a:p>
            </p:txBody>
          </p:sp>
        </p:grpSp>
        <p:grpSp>
          <p:nvGrpSpPr>
            <p:cNvPr id="20" name="Group 19">
              <a:extLst>
                <a:ext uri="{FF2B5EF4-FFF2-40B4-BE49-F238E27FC236}">
                  <a16:creationId xmlns:a16="http://schemas.microsoft.com/office/drawing/2014/main" id="{31623EEF-9C5A-478F-89EC-3305C68990A1}"/>
                </a:ext>
              </a:extLst>
            </p:cNvPr>
            <p:cNvGrpSpPr/>
            <p:nvPr/>
          </p:nvGrpSpPr>
          <p:grpSpPr>
            <a:xfrm>
              <a:off x="681033" y="3529155"/>
              <a:ext cx="2159450" cy="400993"/>
              <a:chOff x="787956" y="3430725"/>
              <a:chExt cx="2159450" cy="400993"/>
            </a:xfrm>
          </p:grpSpPr>
          <p:sp>
            <p:nvSpPr>
              <p:cNvPr id="74" name="TextBox 73">
                <a:extLst>
                  <a:ext uri="{FF2B5EF4-FFF2-40B4-BE49-F238E27FC236}">
                    <a16:creationId xmlns:a16="http://schemas.microsoft.com/office/drawing/2014/main" id="{E736CB9B-F657-452A-AC11-3FCC5FD26F42}"/>
                  </a:ext>
                </a:extLst>
              </p:cNvPr>
              <p:cNvSpPr txBox="1"/>
              <p:nvPr/>
            </p:nvSpPr>
            <p:spPr>
              <a:xfrm>
                <a:off x="1392926" y="3471854"/>
                <a:ext cx="1554480" cy="276999"/>
              </a:xfrm>
              <a:prstGeom prst="rect">
                <a:avLst/>
              </a:prstGeom>
              <a:noFill/>
            </p:spPr>
            <p:txBody>
              <a:bodyPr wrap="square" rtlCol="0">
                <a:spAutoFit/>
              </a:bodyPr>
              <a:lstStyle/>
              <a:p>
                <a:pPr marL="0" marR="0" lvl="0" indent="0" algn="l" defTabSz="12176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Verdana"/>
                    <a:ea typeface="Roboto" panose="02000000000000000000" pitchFamily="2" charset="0"/>
                    <a:cs typeface="+mn-cs"/>
                  </a:rPr>
                  <a:t>Marketing cloud</a:t>
                </a:r>
              </a:p>
            </p:txBody>
          </p:sp>
          <p:pic>
            <p:nvPicPr>
              <p:cNvPr id="75" name="Picture 2" descr="Image result for salesforce logo">
                <a:extLst>
                  <a:ext uri="{FF2B5EF4-FFF2-40B4-BE49-F238E27FC236}">
                    <a16:creationId xmlns:a16="http://schemas.microsoft.com/office/drawing/2014/main" id="{ABC70E6C-56AE-46C1-8674-355B412DB06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7956" y="3430725"/>
                <a:ext cx="572807" cy="4009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03F29F40-D81F-4388-A300-25FD87AD566E}"/>
                </a:ext>
              </a:extLst>
            </p:cNvPr>
            <p:cNvGrpSpPr>
              <a:grpSpLocks noChangeAspect="1"/>
            </p:cNvGrpSpPr>
            <p:nvPr/>
          </p:nvGrpSpPr>
          <p:grpSpPr>
            <a:xfrm>
              <a:off x="1499614" y="2238024"/>
              <a:ext cx="522288" cy="520700"/>
              <a:chOff x="6716713" y="1662113"/>
              <a:chExt cx="522288" cy="520700"/>
            </a:xfrm>
          </p:grpSpPr>
          <p:sp>
            <p:nvSpPr>
              <p:cNvPr id="71" name="Freeform 88">
                <a:extLst>
                  <a:ext uri="{FF2B5EF4-FFF2-40B4-BE49-F238E27FC236}">
                    <a16:creationId xmlns:a16="http://schemas.microsoft.com/office/drawing/2014/main" id="{A1518B35-FD4A-4822-BC3B-2B6E0E953312}"/>
                  </a:ext>
                </a:extLst>
              </p:cNvPr>
              <p:cNvSpPr>
                <a:spLocks noEditPoints="1"/>
              </p:cNvSpPr>
              <p:nvPr/>
            </p:nvSpPr>
            <p:spPr bwMode="auto">
              <a:xfrm>
                <a:off x="6716713" y="1662113"/>
                <a:ext cx="522288" cy="520700"/>
              </a:xfrm>
              <a:custGeom>
                <a:avLst/>
                <a:gdLst>
                  <a:gd name="T0" fmla="*/ 312 w 658"/>
                  <a:gd name="T1" fmla="*/ 657 h 657"/>
                  <a:gd name="T2" fmla="*/ 263 w 658"/>
                  <a:gd name="T3" fmla="*/ 651 h 657"/>
                  <a:gd name="T4" fmla="*/ 202 w 658"/>
                  <a:gd name="T5" fmla="*/ 632 h 657"/>
                  <a:gd name="T6" fmla="*/ 120 w 658"/>
                  <a:gd name="T7" fmla="*/ 582 h 657"/>
                  <a:gd name="T8" fmla="*/ 57 w 658"/>
                  <a:gd name="T9" fmla="*/ 512 h 657"/>
                  <a:gd name="T10" fmla="*/ 15 w 658"/>
                  <a:gd name="T11" fmla="*/ 426 h 657"/>
                  <a:gd name="T12" fmla="*/ 4 w 658"/>
                  <a:gd name="T13" fmla="*/ 379 h 657"/>
                  <a:gd name="T14" fmla="*/ 0 w 658"/>
                  <a:gd name="T15" fmla="*/ 328 h 657"/>
                  <a:gd name="T16" fmla="*/ 1 w 658"/>
                  <a:gd name="T17" fmla="*/ 294 h 657"/>
                  <a:gd name="T18" fmla="*/ 11 w 658"/>
                  <a:gd name="T19" fmla="*/ 246 h 657"/>
                  <a:gd name="T20" fmla="*/ 40 w 658"/>
                  <a:gd name="T21" fmla="*/ 172 h 657"/>
                  <a:gd name="T22" fmla="*/ 97 w 658"/>
                  <a:gd name="T23" fmla="*/ 96 h 657"/>
                  <a:gd name="T24" fmla="*/ 172 w 658"/>
                  <a:gd name="T25" fmla="*/ 39 h 657"/>
                  <a:gd name="T26" fmla="*/ 247 w 658"/>
                  <a:gd name="T27" fmla="*/ 10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2 w 658"/>
                  <a:gd name="T43" fmla="*/ 262 h 657"/>
                  <a:gd name="T44" fmla="*/ 657 w 658"/>
                  <a:gd name="T45" fmla="*/ 312 h 657"/>
                  <a:gd name="T46" fmla="*/ 657 w 658"/>
                  <a:gd name="T47" fmla="*/ 346 h 657"/>
                  <a:gd name="T48" fmla="*/ 652 w 658"/>
                  <a:gd name="T49" fmla="*/ 395 h 657"/>
                  <a:gd name="T50" fmla="*/ 632 w 658"/>
                  <a:gd name="T51" fmla="*/ 457 h 657"/>
                  <a:gd name="T52" fmla="*/ 583 w 658"/>
                  <a:gd name="T53" fmla="*/ 538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0 h 657"/>
                  <a:gd name="T66" fmla="*/ 167 w 658"/>
                  <a:gd name="T67" fmla="*/ 88 h 657"/>
                  <a:gd name="T68" fmla="*/ 105 w 658"/>
                  <a:gd name="T69" fmla="*/ 144 h 657"/>
                  <a:gd name="T70" fmla="*/ 61 w 658"/>
                  <a:gd name="T71" fmla="*/ 215 h 657"/>
                  <a:gd name="T72" fmla="*/ 39 w 658"/>
                  <a:gd name="T73" fmla="*/ 299 h 657"/>
                  <a:gd name="T74" fmla="*/ 39 w 658"/>
                  <a:gd name="T75" fmla="*/ 359 h 657"/>
                  <a:gd name="T76" fmla="*/ 61 w 658"/>
                  <a:gd name="T77" fmla="*/ 442 h 657"/>
                  <a:gd name="T78" fmla="*/ 105 w 658"/>
                  <a:gd name="T79" fmla="*/ 513 h 657"/>
                  <a:gd name="T80" fmla="*/ 167 w 658"/>
                  <a:gd name="T81" fmla="*/ 570 h 657"/>
                  <a:gd name="T82" fmla="*/ 243 w 658"/>
                  <a:gd name="T83" fmla="*/ 606 h 657"/>
                  <a:gd name="T84" fmla="*/ 329 w 658"/>
                  <a:gd name="T85" fmla="*/ 620 h 657"/>
                  <a:gd name="T86" fmla="*/ 388 w 658"/>
                  <a:gd name="T87" fmla="*/ 614 h 657"/>
                  <a:gd name="T88" fmla="*/ 468 w 658"/>
                  <a:gd name="T89" fmla="*/ 585 h 657"/>
                  <a:gd name="T90" fmla="*/ 535 w 658"/>
                  <a:gd name="T91" fmla="*/ 535 h 657"/>
                  <a:gd name="T92" fmla="*/ 586 w 658"/>
                  <a:gd name="T93" fmla="*/ 468 h 657"/>
                  <a:gd name="T94" fmla="*/ 614 w 658"/>
                  <a:gd name="T95" fmla="*/ 387 h 657"/>
                  <a:gd name="T96" fmla="*/ 621 w 658"/>
                  <a:gd name="T97" fmla="*/ 328 h 657"/>
                  <a:gd name="T98" fmla="*/ 607 w 658"/>
                  <a:gd name="T99" fmla="*/ 242 h 657"/>
                  <a:gd name="T100" fmla="*/ 571 w 658"/>
                  <a:gd name="T101" fmla="*/ 166 h 657"/>
                  <a:gd name="T102" fmla="*/ 515 w 658"/>
                  <a:gd name="T103" fmla="*/ 104 h 657"/>
                  <a:gd name="T104" fmla="*/ 442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2" y="657"/>
                    </a:lnTo>
                    <a:lnTo>
                      <a:pt x="296" y="656"/>
                    </a:lnTo>
                    <a:lnTo>
                      <a:pt x="280" y="653"/>
                    </a:lnTo>
                    <a:lnTo>
                      <a:pt x="263" y="651"/>
                    </a:lnTo>
                    <a:lnTo>
                      <a:pt x="247" y="648"/>
                    </a:lnTo>
                    <a:lnTo>
                      <a:pt x="231" y="642"/>
                    </a:lnTo>
                    <a:lnTo>
                      <a:pt x="202" y="632"/>
                    </a:lnTo>
                    <a:lnTo>
                      <a:pt x="172" y="618"/>
                    </a:lnTo>
                    <a:lnTo>
                      <a:pt x="145" y="601"/>
                    </a:lnTo>
                    <a:lnTo>
                      <a:pt x="120" y="582"/>
                    </a:lnTo>
                    <a:lnTo>
                      <a:pt x="97" y="560"/>
                    </a:lnTo>
                    <a:lnTo>
                      <a:pt x="75" y="538"/>
                    </a:lnTo>
                    <a:lnTo>
                      <a:pt x="57" y="512"/>
                    </a:lnTo>
                    <a:lnTo>
                      <a:pt x="40" y="485"/>
                    </a:lnTo>
                    <a:lnTo>
                      <a:pt x="26" y="457"/>
                    </a:lnTo>
                    <a:lnTo>
                      <a:pt x="15" y="426"/>
                    </a:lnTo>
                    <a:lnTo>
                      <a:pt x="11" y="411"/>
                    </a:lnTo>
                    <a:lnTo>
                      <a:pt x="7" y="395"/>
                    </a:lnTo>
                    <a:lnTo>
                      <a:pt x="4" y="379"/>
                    </a:lnTo>
                    <a:lnTo>
                      <a:pt x="1" y="362"/>
                    </a:lnTo>
                    <a:lnTo>
                      <a:pt x="1" y="346"/>
                    </a:lnTo>
                    <a:lnTo>
                      <a:pt x="0" y="328"/>
                    </a:lnTo>
                    <a:lnTo>
                      <a:pt x="0" y="328"/>
                    </a:lnTo>
                    <a:lnTo>
                      <a:pt x="1" y="312"/>
                    </a:lnTo>
                    <a:lnTo>
                      <a:pt x="1" y="294"/>
                    </a:lnTo>
                    <a:lnTo>
                      <a:pt x="4" y="278"/>
                    </a:lnTo>
                    <a:lnTo>
                      <a:pt x="7" y="262"/>
                    </a:lnTo>
                    <a:lnTo>
                      <a:pt x="11" y="246"/>
                    </a:lnTo>
                    <a:lnTo>
                      <a:pt x="15" y="231"/>
                    </a:lnTo>
                    <a:lnTo>
                      <a:pt x="26" y="200"/>
                    </a:lnTo>
                    <a:lnTo>
                      <a:pt x="40" y="172"/>
                    </a:lnTo>
                    <a:lnTo>
                      <a:pt x="57" y="145"/>
                    </a:lnTo>
                    <a:lnTo>
                      <a:pt x="75" y="120"/>
                    </a:lnTo>
                    <a:lnTo>
                      <a:pt x="97" y="96"/>
                    </a:lnTo>
                    <a:lnTo>
                      <a:pt x="120" y="76"/>
                    </a:lnTo>
                    <a:lnTo>
                      <a:pt x="145" y="57"/>
                    </a:lnTo>
                    <a:lnTo>
                      <a:pt x="172" y="39"/>
                    </a:lnTo>
                    <a:lnTo>
                      <a:pt x="202" y="26"/>
                    </a:lnTo>
                    <a:lnTo>
                      <a:pt x="231" y="15"/>
                    </a:lnTo>
                    <a:lnTo>
                      <a:pt x="247" y="10"/>
                    </a:lnTo>
                    <a:lnTo>
                      <a:pt x="263" y="7"/>
                    </a:lnTo>
                    <a:lnTo>
                      <a:pt x="280" y="4"/>
                    </a:lnTo>
                    <a:lnTo>
                      <a:pt x="296" y="2"/>
                    </a:lnTo>
                    <a:lnTo>
                      <a:pt x="312" y="0"/>
                    </a:lnTo>
                    <a:lnTo>
                      <a:pt x="329" y="0"/>
                    </a:lnTo>
                    <a:lnTo>
                      <a:pt x="329" y="0"/>
                    </a:lnTo>
                    <a:lnTo>
                      <a:pt x="347" y="0"/>
                    </a:lnTo>
                    <a:lnTo>
                      <a:pt x="363" y="2"/>
                    </a:lnTo>
                    <a:lnTo>
                      <a:pt x="379" y="4"/>
                    </a:lnTo>
                    <a:lnTo>
                      <a:pt x="395" y="7"/>
                    </a:lnTo>
                    <a:lnTo>
                      <a:pt x="411" y="10"/>
                    </a:lnTo>
                    <a:lnTo>
                      <a:pt x="427" y="15"/>
                    </a:lnTo>
                    <a:lnTo>
                      <a:pt x="457" y="26"/>
                    </a:lnTo>
                    <a:lnTo>
                      <a:pt x="486" y="39"/>
                    </a:lnTo>
                    <a:lnTo>
                      <a:pt x="513" y="57"/>
                    </a:lnTo>
                    <a:lnTo>
                      <a:pt x="539" y="76"/>
                    </a:lnTo>
                    <a:lnTo>
                      <a:pt x="562" y="96"/>
                    </a:lnTo>
                    <a:lnTo>
                      <a:pt x="583" y="120"/>
                    </a:lnTo>
                    <a:lnTo>
                      <a:pt x="602" y="145"/>
                    </a:lnTo>
                    <a:lnTo>
                      <a:pt x="618" y="172"/>
                    </a:lnTo>
                    <a:lnTo>
                      <a:pt x="632" y="200"/>
                    </a:lnTo>
                    <a:lnTo>
                      <a:pt x="644" y="231"/>
                    </a:lnTo>
                    <a:lnTo>
                      <a:pt x="648" y="246"/>
                    </a:lnTo>
                    <a:lnTo>
                      <a:pt x="652" y="262"/>
                    </a:lnTo>
                    <a:lnTo>
                      <a:pt x="654" y="278"/>
                    </a:lnTo>
                    <a:lnTo>
                      <a:pt x="656" y="294"/>
                    </a:lnTo>
                    <a:lnTo>
                      <a:pt x="657" y="312"/>
                    </a:lnTo>
                    <a:lnTo>
                      <a:pt x="658" y="328"/>
                    </a:lnTo>
                    <a:lnTo>
                      <a:pt x="658" y="328"/>
                    </a:lnTo>
                    <a:lnTo>
                      <a:pt x="657" y="346"/>
                    </a:lnTo>
                    <a:lnTo>
                      <a:pt x="656" y="362"/>
                    </a:lnTo>
                    <a:lnTo>
                      <a:pt x="654" y="379"/>
                    </a:lnTo>
                    <a:lnTo>
                      <a:pt x="652" y="395"/>
                    </a:lnTo>
                    <a:lnTo>
                      <a:pt x="648" y="411"/>
                    </a:lnTo>
                    <a:lnTo>
                      <a:pt x="644" y="426"/>
                    </a:lnTo>
                    <a:lnTo>
                      <a:pt x="632" y="457"/>
                    </a:lnTo>
                    <a:lnTo>
                      <a:pt x="618" y="485"/>
                    </a:lnTo>
                    <a:lnTo>
                      <a:pt x="602" y="512"/>
                    </a:lnTo>
                    <a:lnTo>
                      <a:pt x="583" y="538"/>
                    </a:lnTo>
                    <a:lnTo>
                      <a:pt x="562" y="560"/>
                    </a:lnTo>
                    <a:lnTo>
                      <a:pt x="539" y="582"/>
                    </a:lnTo>
                    <a:lnTo>
                      <a:pt x="513" y="601"/>
                    </a:lnTo>
                    <a:lnTo>
                      <a:pt x="486" y="618"/>
                    </a:lnTo>
                    <a:lnTo>
                      <a:pt x="457" y="632"/>
                    </a:lnTo>
                    <a:lnTo>
                      <a:pt x="427" y="642"/>
                    </a:lnTo>
                    <a:lnTo>
                      <a:pt x="411" y="648"/>
                    </a:lnTo>
                    <a:lnTo>
                      <a:pt x="395" y="651"/>
                    </a:lnTo>
                    <a:lnTo>
                      <a:pt x="379" y="653"/>
                    </a:lnTo>
                    <a:lnTo>
                      <a:pt x="363" y="656"/>
                    </a:lnTo>
                    <a:lnTo>
                      <a:pt x="347" y="657"/>
                    </a:lnTo>
                    <a:lnTo>
                      <a:pt x="329" y="657"/>
                    </a:lnTo>
                    <a:lnTo>
                      <a:pt x="329" y="657"/>
                    </a:lnTo>
                    <a:close/>
                    <a:moveTo>
                      <a:pt x="329" y="38"/>
                    </a:moveTo>
                    <a:lnTo>
                      <a:pt x="329" y="38"/>
                    </a:lnTo>
                    <a:lnTo>
                      <a:pt x="300" y="39"/>
                    </a:lnTo>
                    <a:lnTo>
                      <a:pt x="270" y="43"/>
                    </a:lnTo>
                    <a:lnTo>
                      <a:pt x="243" y="50"/>
                    </a:lnTo>
                    <a:lnTo>
                      <a:pt x="216" y="61"/>
                    </a:lnTo>
                    <a:lnTo>
                      <a:pt x="191" y="73"/>
                    </a:lnTo>
                    <a:lnTo>
                      <a:pt x="167" y="88"/>
                    </a:lnTo>
                    <a:lnTo>
                      <a:pt x="144" y="104"/>
                    </a:lnTo>
                    <a:lnTo>
                      <a:pt x="124" y="123"/>
                    </a:lnTo>
                    <a:lnTo>
                      <a:pt x="105" y="144"/>
                    </a:lnTo>
                    <a:lnTo>
                      <a:pt x="87" y="166"/>
                    </a:lnTo>
                    <a:lnTo>
                      <a:pt x="73" y="190"/>
                    </a:lnTo>
                    <a:lnTo>
                      <a:pt x="61" y="215"/>
                    </a:lnTo>
                    <a:lnTo>
                      <a:pt x="51" y="242"/>
                    </a:lnTo>
                    <a:lnTo>
                      <a:pt x="44" y="270"/>
                    </a:lnTo>
                    <a:lnTo>
                      <a:pt x="39" y="299"/>
                    </a:lnTo>
                    <a:lnTo>
                      <a:pt x="38" y="328"/>
                    </a:lnTo>
                    <a:lnTo>
                      <a:pt x="38" y="328"/>
                    </a:lnTo>
                    <a:lnTo>
                      <a:pt x="39" y="359"/>
                    </a:lnTo>
                    <a:lnTo>
                      <a:pt x="44" y="387"/>
                    </a:lnTo>
                    <a:lnTo>
                      <a:pt x="51" y="415"/>
                    </a:lnTo>
                    <a:lnTo>
                      <a:pt x="61" y="442"/>
                    </a:lnTo>
                    <a:lnTo>
                      <a:pt x="73" y="468"/>
                    </a:lnTo>
                    <a:lnTo>
                      <a:pt x="87" y="492"/>
                    </a:lnTo>
                    <a:lnTo>
                      <a:pt x="105" y="513"/>
                    </a:lnTo>
                    <a:lnTo>
                      <a:pt x="124" y="535"/>
                    </a:lnTo>
                    <a:lnTo>
                      <a:pt x="144" y="554"/>
                    </a:lnTo>
                    <a:lnTo>
                      <a:pt x="167" y="570"/>
                    </a:lnTo>
                    <a:lnTo>
                      <a:pt x="191" y="585"/>
                    </a:lnTo>
                    <a:lnTo>
                      <a:pt x="216" y="597"/>
                    </a:lnTo>
                    <a:lnTo>
                      <a:pt x="243" y="606"/>
                    </a:lnTo>
                    <a:lnTo>
                      <a:pt x="270" y="614"/>
                    </a:lnTo>
                    <a:lnTo>
                      <a:pt x="300" y="618"/>
                    </a:lnTo>
                    <a:lnTo>
                      <a:pt x="329" y="620"/>
                    </a:lnTo>
                    <a:lnTo>
                      <a:pt x="329" y="620"/>
                    </a:lnTo>
                    <a:lnTo>
                      <a:pt x="359" y="618"/>
                    </a:lnTo>
                    <a:lnTo>
                      <a:pt x="388" y="614"/>
                    </a:lnTo>
                    <a:lnTo>
                      <a:pt x="415" y="606"/>
                    </a:lnTo>
                    <a:lnTo>
                      <a:pt x="442" y="597"/>
                    </a:lnTo>
                    <a:lnTo>
                      <a:pt x="468" y="585"/>
                    </a:lnTo>
                    <a:lnTo>
                      <a:pt x="492" y="570"/>
                    </a:lnTo>
                    <a:lnTo>
                      <a:pt x="515" y="554"/>
                    </a:lnTo>
                    <a:lnTo>
                      <a:pt x="535" y="535"/>
                    </a:lnTo>
                    <a:lnTo>
                      <a:pt x="554" y="513"/>
                    </a:lnTo>
                    <a:lnTo>
                      <a:pt x="571" y="492"/>
                    </a:lnTo>
                    <a:lnTo>
                      <a:pt x="586" y="468"/>
                    </a:lnTo>
                    <a:lnTo>
                      <a:pt x="598" y="442"/>
                    </a:lnTo>
                    <a:lnTo>
                      <a:pt x="607" y="415"/>
                    </a:lnTo>
                    <a:lnTo>
                      <a:pt x="614" y="387"/>
                    </a:lnTo>
                    <a:lnTo>
                      <a:pt x="619" y="359"/>
                    </a:lnTo>
                    <a:lnTo>
                      <a:pt x="621" y="328"/>
                    </a:lnTo>
                    <a:lnTo>
                      <a:pt x="621" y="328"/>
                    </a:lnTo>
                    <a:lnTo>
                      <a:pt x="619" y="299"/>
                    </a:lnTo>
                    <a:lnTo>
                      <a:pt x="614" y="270"/>
                    </a:lnTo>
                    <a:lnTo>
                      <a:pt x="607" y="242"/>
                    </a:lnTo>
                    <a:lnTo>
                      <a:pt x="598" y="215"/>
                    </a:lnTo>
                    <a:lnTo>
                      <a:pt x="586" y="190"/>
                    </a:lnTo>
                    <a:lnTo>
                      <a:pt x="571" y="166"/>
                    </a:lnTo>
                    <a:lnTo>
                      <a:pt x="554" y="144"/>
                    </a:lnTo>
                    <a:lnTo>
                      <a:pt x="535" y="123"/>
                    </a:lnTo>
                    <a:lnTo>
                      <a:pt x="515" y="104"/>
                    </a:lnTo>
                    <a:lnTo>
                      <a:pt x="492" y="88"/>
                    </a:lnTo>
                    <a:lnTo>
                      <a:pt x="468" y="73"/>
                    </a:lnTo>
                    <a:lnTo>
                      <a:pt x="442" y="61"/>
                    </a:lnTo>
                    <a:lnTo>
                      <a:pt x="415" y="50"/>
                    </a:lnTo>
                    <a:lnTo>
                      <a:pt x="388"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72" name="Freeform 277">
                <a:extLst>
                  <a:ext uri="{FF2B5EF4-FFF2-40B4-BE49-F238E27FC236}">
                    <a16:creationId xmlns:a16="http://schemas.microsoft.com/office/drawing/2014/main" id="{EE991ACE-7409-4B62-9FC9-94D8C7A4C8CA}"/>
                  </a:ext>
                </a:extLst>
              </p:cNvPr>
              <p:cNvSpPr>
                <a:spLocks noEditPoints="1"/>
              </p:cNvSpPr>
              <p:nvPr/>
            </p:nvSpPr>
            <p:spPr bwMode="auto">
              <a:xfrm>
                <a:off x="6996113" y="1901825"/>
                <a:ext cx="96838" cy="152400"/>
              </a:xfrm>
              <a:custGeom>
                <a:avLst/>
                <a:gdLst>
                  <a:gd name="T0" fmla="*/ 22 w 123"/>
                  <a:gd name="T1" fmla="*/ 0 h 191"/>
                  <a:gd name="T2" fmla="*/ 17 w 123"/>
                  <a:gd name="T3" fmla="*/ 0 h 191"/>
                  <a:gd name="T4" fmla="*/ 7 w 123"/>
                  <a:gd name="T5" fmla="*/ 5 h 191"/>
                  <a:gd name="T6" fmla="*/ 2 w 123"/>
                  <a:gd name="T7" fmla="*/ 16 h 191"/>
                  <a:gd name="T8" fmla="*/ 0 w 123"/>
                  <a:gd name="T9" fmla="*/ 171 h 191"/>
                  <a:gd name="T10" fmla="*/ 2 w 123"/>
                  <a:gd name="T11" fmla="*/ 175 h 191"/>
                  <a:gd name="T12" fmla="*/ 7 w 123"/>
                  <a:gd name="T13" fmla="*/ 185 h 191"/>
                  <a:gd name="T14" fmla="*/ 17 w 123"/>
                  <a:gd name="T15" fmla="*/ 191 h 191"/>
                  <a:gd name="T16" fmla="*/ 103 w 123"/>
                  <a:gd name="T17" fmla="*/ 191 h 191"/>
                  <a:gd name="T18" fmla="*/ 107 w 123"/>
                  <a:gd name="T19" fmla="*/ 191 h 191"/>
                  <a:gd name="T20" fmla="*/ 117 w 123"/>
                  <a:gd name="T21" fmla="*/ 185 h 191"/>
                  <a:gd name="T22" fmla="*/ 123 w 123"/>
                  <a:gd name="T23" fmla="*/ 175 h 191"/>
                  <a:gd name="T24" fmla="*/ 123 w 123"/>
                  <a:gd name="T25" fmla="*/ 20 h 191"/>
                  <a:gd name="T26" fmla="*/ 123 w 123"/>
                  <a:gd name="T27" fmla="*/ 16 h 191"/>
                  <a:gd name="T28" fmla="*/ 117 w 123"/>
                  <a:gd name="T29" fmla="*/ 5 h 191"/>
                  <a:gd name="T30" fmla="*/ 107 w 123"/>
                  <a:gd name="T31" fmla="*/ 0 h 191"/>
                  <a:gd name="T32" fmla="*/ 103 w 123"/>
                  <a:gd name="T33" fmla="*/ 0 h 191"/>
                  <a:gd name="T34" fmla="*/ 62 w 123"/>
                  <a:gd name="T35" fmla="*/ 184 h 191"/>
                  <a:gd name="T36" fmla="*/ 56 w 123"/>
                  <a:gd name="T37" fmla="*/ 180 h 191"/>
                  <a:gd name="T38" fmla="*/ 51 w 123"/>
                  <a:gd name="T39" fmla="*/ 173 h 191"/>
                  <a:gd name="T40" fmla="*/ 53 w 123"/>
                  <a:gd name="T41" fmla="*/ 169 h 191"/>
                  <a:gd name="T42" fmla="*/ 58 w 123"/>
                  <a:gd name="T43" fmla="*/ 164 h 191"/>
                  <a:gd name="T44" fmla="*/ 62 w 123"/>
                  <a:gd name="T45" fmla="*/ 164 h 191"/>
                  <a:gd name="T46" fmla="*/ 69 w 123"/>
                  <a:gd name="T47" fmla="*/ 166 h 191"/>
                  <a:gd name="T48" fmla="*/ 72 w 123"/>
                  <a:gd name="T49" fmla="*/ 173 h 191"/>
                  <a:gd name="T50" fmla="*/ 72 w 123"/>
                  <a:gd name="T51" fmla="*/ 177 h 191"/>
                  <a:gd name="T52" fmla="*/ 66 w 123"/>
                  <a:gd name="T53" fmla="*/ 183 h 191"/>
                  <a:gd name="T54" fmla="*/ 62 w 123"/>
                  <a:gd name="T55" fmla="*/ 184 h 191"/>
                  <a:gd name="T56" fmla="*/ 115 w 123"/>
                  <a:gd name="T57" fmla="*/ 152 h 191"/>
                  <a:gd name="T58" fmla="*/ 109 w 123"/>
                  <a:gd name="T59" fmla="*/ 156 h 191"/>
                  <a:gd name="T60" fmla="*/ 14 w 123"/>
                  <a:gd name="T61" fmla="*/ 156 h 191"/>
                  <a:gd name="T62" fmla="*/ 10 w 123"/>
                  <a:gd name="T63" fmla="*/ 153 h 191"/>
                  <a:gd name="T64" fmla="*/ 9 w 123"/>
                  <a:gd name="T65" fmla="*/ 17 h 191"/>
                  <a:gd name="T66" fmla="*/ 10 w 123"/>
                  <a:gd name="T67" fmla="*/ 15 h 191"/>
                  <a:gd name="T68" fmla="*/ 14 w 123"/>
                  <a:gd name="T69" fmla="*/ 12 h 191"/>
                  <a:gd name="T70" fmla="*/ 109 w 123"/>
                  <a:gd name="T71" fmla="*/ 12 h 191"/>
                  <a:gd name="T72" fmla="*/ 115 w 123"/>
                  <a:gd name="T73" fmla="*/ 1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 h="191">
                    <a:moveTo>
                      <a:pt x="103" y="0"/>
                    </a:moveTo>
                    <a:lnTo>
                      <a:pt x="22" y="0"/>
                    </a:lnTo>
                    <a:lnTo>
                      <a:pt x="22" y="0"/>
                    </a:lnTo>
                    <a:lnTo>
                      <a:pt x="17" y="0"/>
                    </a:lnTo>
                    <a:lnTo>
                      <a:pt x="14" y="1"/>
                    </a:lnTo>
                    <a:lnTo>
                      <a:pt x="7" y="5"/>
                    </a:lnTo>
                    <a:lnTo>
                      <a:pt x="3" y="12"/>
                    </a:lnTo>
                    <a:lnTo>
                      <a:pt x="2" y="16"/>
                    </a:lnTo>
                    <a:lnTo>
                      <a:pt x="0" y="20"/>
                    </a:lnTo>
                    <a:lnTo>
                      <a:pt x="0" y="171"/>
                    </a:lnTo>
                    <a:lnTo>
                      <a:pt x="0" y="171"/>
                    </a:lnTo>
                    <a:lnTo>
                      <a:pt x="2" y="175"/>
                    </a:lnTo>
                    <a:lnTo>
                      <a:pt x="3" y="179"/>
                    </a:lnTo>
                    <a:lnTo>
                      <a:pt x="7" y="185"/>
                    </a:lnTo>
                    <a:lnTo>
                      <a:pt x="14" y="189"/>
                    </a:lnTo>
                    <a:lnTo>
                      <a:pt x="17" y="191"/>
                    </a:lnTo>
                    <a:lnTo>
                      <a:pt x="22" y="191"/>
                    </a:lnTo>
                    <a:lnTo>
                      <a:pt x="103" y="191"/>
                    </a:lnTo>
                    <a:lnTo>
                      <a:pt x="103" y="191"/>
                    </a:lnTo>
                    <a:lnTo>
                      <a:pt x="107" y="191"/>
                    </a:lnTo>
                    <a:lnTo>
                      <a:pt x="111" y="189"/>
                    </a:lnTo>
                    <a:lnTo>
                      <a:pt x="117" y="185"/>
                    </a:lnTo>
                    <a:lnTo>
                      <a:pt x="121" y="179"/>
                    </a:lnTo>
                    <a:lnTo>
                      <a:pt x="123" y="175"/>
                    </a:lnTo>
                    <a:lnTo>
                      <a:pt x="123" y="171"/>
                    </a:lnTo>
                    <a:lnTo>
                      <a:pt x="123" y="20"/>
                    </a:lnTo>
                    <a:lnTo>
                      <a:pt x="123" y="20"/>
                    </a:lnTo>
                    <a:lnTo>
                      <a:pt x="123" y="16"/>
                    </a:lnTo>
                    <a:lnTo>
                      <a:pt x="121" y="12"/>
                    </a:lnTo>
                    <a:lnTo>
                      <a:pt x="117" y="5"/>
                    </a:lnTo>
                    <a:lnTo>
                      <a:pt x="111" y="1"/>
                    </a:lnTo>
                    <a:lnTo>
                      <a:pt x="107" y="0"/>
                    </a:lnTo>
                    <a:lnTo>
                      <a:pt x="103" y="0"/>
                    </a:lnTo>
                    <a:lnTo>
                      <a:pt x="103" y="0"/>
                    </a:lnTo>
                    <a:close/>
                    <a:moveTo>
                      <a:pt x="62" y="184"/>
                    </a:moveTo>
                    <a:lnTo>
                      <a:pt x="62" y="184"/>
                    </a:lnTo>
                    <a:lnTo>
                      <a:pt x="58" y="183"/>
                    </a:lnTo>
                    <a:lnTo>
                      <a:pt x="56" y="180"/>
                    </a:lnTo>
                    <a:lnTo>
                      <a:pt x="53" y="177"/>
                    </a:lnTo>
                    <a:lnTo>
                      <a:pt x="51" y="173"/>
                    </a:lnTo>
                    <a:lnTo>
                      <a:pt x="51" y="173"/>
                    </a:lnTo>
                    <a:lnTo>
                      <a:pt x="53" y="169"/>
                    </a:lnTo>
                    <a:lnTo>
                      <a:pt x="56" y="166"/>
                    </a:lnTo>
                    <a:lnTo>
                      <a:pt x="58" y="164"/>
                    </a:lnTo>
                    <a:lnTo>
                      <a:pt x="62" y="164"/>
                    </a:lnTo>
                    <a:lnTo>
                      <a:pt x="62" y="164"/>
                    </a:lnTo>
                    <a:lnTo>
                      <a:pt x="66" y="164"/>
                    </a:lnTo>
                    <a:lnTo>
                      <a:pt x="69" y="166"/>
                    </a:lnTo>
                    <a:lnTo>
                      <a:pt x="72" y="169"/>
                    </a:lnTo>
                    <a:lnTo>
                      <a:pt x="72" y="173"/>
                    </a:lnTo>
                    <a:lnTo>
                      <a:pt x="72" y="173"/>
                    </a:lnTo>
                    <a:lnTo>
                      <a:pt x="72" y="177"/>
                    </a:lnTo>
                    <a:lnTo>
                      <a:pt x="69" y="180"/>
                    </a:lnTo>
                    <a:lnTo>
                      <a:pt x="66" y="183"/>
                    </a:lnTo>
                    <a:lnTo>
                      <a:pt x="62" y="184"/>
                    </a:lnTo>
                    <a:lnTo>
                      <a:pt x="62" y="184"/>
                    </a:lnTo>
                    <a:close/>
                    <a:moveTo>
                      <a:pt x="115" y="152"/>
                    </a:moveTo>
                    <a:lnTo>
                      <a:pt x="115" y="152"/>
                    </a:lnTo>
                    <a:lnTo>
                      <a:pt x="113" y="154"/>
                    </a:lnTo>
                    <a:lnTo>
                      <a:pt x="109" y="156"/>
                    </a:lnTo>
                    <a:lnTo>
                      <a:pt x="14" y="156"/>
                    </a:lnTo>
                    <a:lnTo>
                      <a:pt x="14" y="156"/>
                    </a:lnTo>
                    <a:lnTo>
                      <a:pt x="11" y="154"/>
                    </a:lnTo>
                    <a:lnTo>
                      <a:pt x="10" y="153"/>
                    </a:lnTo>
                    <a:lnTo>
                      <a:pt x="9" y="152"/>
                    </a:lnTo>
                    <a:lnTo>
                      <a:pt x="9" y="17"/>
                    </a:lnTo>
                    <a:lnTo>
                      <a:pt x="9" y="17"/>
                    </a:lnTo>
                    <a:lnTo>
                      <a:pt x="10" y="15"/>
                    </a:lnTo>
                    <a:lnTo>
                      <a:pt x="11" y="13"/>
                    </a:lnTo>
                    <a:lnTo>
                      <a:pt x="14" y="12"/>
                    </a:lnTo>
                    <a:lnTo>
                      <a:pt x="109" y="12"/>
                    </a:lnTo>
                    <a:lnTo>
                      <a:pt x="109" y="12"/>
                    </a:lnTo>
                    <a:lnTo>
                      <a:pt x="113" y="13"/>
                    </a:lnTo>
                    <a:lnTo>
                      <a:pt x="115" y="17"/>
                    </a:lnTo>
                    <a:lnTo>
                      <a:pt x="115" y="1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73" name="Freeform 278">
                <a:extLst>
                  <a:ext uri="{FF2B5EF4-FFF2-40B4-BE49-F238E27FC236}">
                    <a16:creationId xmlns:a16="http://schemas.microsoft.com/office/drawing/2014/main" id="{EE35E6D0-5D48-402C-8057-73CFDF9D5BA6}"/>
                  </a:ext>
                </a:extLst>
              </p:cNvPr>
              <p:cNvSpPr>
                <a:spLocks noEditPoints="1"/>
              </p:cNvSpPr>
              <p:nvPr/>
            </p:nvSpPr>
            <p:spPr bwMode="auto">
              <a:xfrm>
                <a:off x="6869113" y="1797050"/>
                <a:ext cx="177800" cy="231775"/>
              </a:xfrm>
              <a:custGeom>
                <a:avLst/>
                <a:gdLst>
                  <a:gd name="T0" fmla="*/ 20 w 225"/>
                  <a:gd name="T1" fmla="*/ 25 h 291"/>
                  <a:gd name="T2" fmla="*/ 22 w 225"/>
                  <a:gd name="T3" fmla="*/ 21 h 291"/>
                  <a:gd name="T4" fmla="*/ 200 w 225"/>
                  <a:gd name="T5" fmla="*/ 20 h 291"/>
                  <a:gd name="T6" fmla="*/ 204 w 225"/>
                  <a:gd name="T7" fmla="*/ 21 h 291"/>
                  <a:gd name="T8" fmla="*/ 206 w 225"/>
                  <a:gd name="T9" fmla="*/ 111 h 291"/>
                  <a:gd name="T10" fmla="*/ 225 w 225"/>
                  <a:gd name="T11" fmla="*/ 31 h 291"/>
                  <a:gd name="T12" fmla="*/ 225 w 225"/>
                  <a:gd name="T13" fmla="*/ 24 h 291"/>
                  <a:gd name="T14" fmla="*/ 219 w 225"/>
                  <a:gd name="T15" fmla="*/ 13 h 291"/>
                  <a:gd name="T16" fmla="*/ 211 w 225"/>
                  <a:gd name="T17" fmla="*/ 5 h 291"/>
                  <a:gd name="T18" fmla="*/ 200 w 225"/>
                  <a:gd name="T19" fmla="*/ 1 h 291"/>
                  <a:gd name="T20" fmla="*/ 31 w 225"/>
                  <a:gd name="T21" fmla="*/ 0 h 291"/>
                  <a:gd name="T22" fmla="*/ 26 w 225"/>
                  <a:gd name="T23" fmla="*/ 1 h 291"/>
                  <a:gd name="T24" fmla="*/ 14 w 225"/>
                  <a:gd name="T25" fmla="*/ 5 h 291"/>
                  <a:gd name="T26" fmla="*/ 6 w 225"/>
                  <a:gd name="T27" fmla="*/ 13 h 291"/>
                  <a:gd name="T28" fmla="*/ 2 w 225"/>
                  <a:gd name="T29" fmla="*/ 24 h 291"/>
                  <a:gd name="T30" fmla="*/ 0 w 225"/>
                  <a:gd name="T31" fmla="*/ 262 h 291"/>
                  <a:gd name="T32" fmla="*/ 2 w 225"/>
                  <a:gd name="T33" fmla="*/ 267 h 291"/>
                  <a:gd name="T34" fmla="*/ 6 w 225"/>
                  <a:gd name="T35" fmla="*/ 278 h 291"/>
                  <a:gd name="T36" fmla="*/ 14 w 225"/>
                  <a:gd name="T37" fmla="*/ 286 h 291"/>
                  <a:gd name="T38" fmla="*/ 26 w 225"/>
                  <a:gd name="T39" fmla="*/ 291 h 291"/>
                  <a:gd name="T40" fmla="*/ 144 w 225"/>
                  <a:gd name="T41" fmla="*/ 291 h 291"/>
                  <a:gd name="T42" fmla="*/ 26 w 225"/>
                  <a:gd name="T43" fmla="*/ 231 h 291"/>
                  <a:gd name="T44" fmla="*/ 22 w 225"/>
                  <a:gd name="T45" fmla="*/ 230 h 291"/>
                  <a:gd name="T46" fmla="*/ 20 w 225"/>
                  <a:gd name="T47" fmla="*/ 226 h 291"/>
                  <a:gd name="T48" fmla="*/ 113 w 225"/>
                  <a:gd name="T49" fmla="*/ 246 h 291"/>
                  <a:gd name="T50" fmla="*/ 124 w 225"/>
                  <a:gd name="T51" fmla="*/ 251 h 291"/>
                  <a:gd name="T52" fmla="*/ 128 w 225"/>
                  <a:gd name="T53" fmla="*/ 262 h 291"/>
                  <a:gd name="T54" fmla="*/ 127 w 225"/>
                  <a:gd name="T55" fmla="*/ 267 h 291"/>
                  <a:gd name="T56" fmla="*/ 118 w 225"/>
                  <a:gd name="T57" fmla="*/ 275 h 291"/>
                  <a:gd name="T58" fmla="*/ 113 w 225"/>
                  <a:gd name="T59" fmla="*/ 277 h 291"/>
                  <a:gd name="T60" fmla="*/ 102 w 225"/>
                  <a:gd name="T61" fmla="*/ 271 h 291"/>
                  <a:gd name="T62" fmla="*/ 97 w 225"/>
                  <a:gd name="T63" fmla="*/ 262 h 291"/>
                  <a:gd name="T64" fmla="*/ 98 w 225"/>
                  <a:gd name="T65" fmla="*/ 255 h 291"/>
                  <a:gd name="T66" fmla="*/ 106 w 225"/>
                  <a:gd name="T67" fmla="*/ 247 h 291"/>
                  <a:gd name="T68" fmla="*/ 113 w 225"/>
                  <a:gd name="T69" fmla="*/ 24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5" h="291">
                    <a:moveTo>
                      <a:pt x="20" y="226"/>
                    </a:moveTo>
                    <a:lnTo>
                      <a:pt x="20" y="25"/>
                    </a:lnTo>
                    <a:lnTo>
                      <a:pt x="20" y="25"/>
                    </a:lnTo>
                    <a:lnTo>
                      <a:pt x="22" y="21"/>
                    </a:lnTo>
                    <a:lnTo>
                      <a:pt x="26" y="20"/>
                    </a:lnTo>
                    <a:lnTo>
                      <a:pt x="200" y="20"/>
                    </a:lnTo>
                    <a:lnTo>
                      <a:pt x="200" y="20"/>
                    </a:lnTo>
                    <a:lnTo>
                      <a:pt x="204" y="21"/>
                    </a:lnTo>
                    <a:lnTo>
                      <a:pt x="206" y="25"/>
                    </a:lnTo>
                    <a:lnTo>
                      <a:pt x="206" y="111"/>
                    </a:lnTo>
                    <a:lnTo>
                      <a:pt x="225" y="111"/>
                    </a:lnTo>
                    <a:lnTo>
                      <a:pt x="225" y="31"/>
                    </a:lnTo>
                    <a:lnTo>
                      <a:pt x="225" y="31"/>
                    </a:lnTo>
                    <a:lnTo>
                      <a:pt x="225" y="24"/>
                    </a:lnTo>
                    <a:lnTo>
                      <a:pt x="223" y="19"/>
                    </a:lnTo>
                    <a:lnTo>
                      <a:pt x="219" y="13"/>
                    </a:lnTo>
                    <a:lnTo>
                      <a:pt x="217" y="9"/>
                    </a:lnTo>
                    <a:lnTo>
                      <a:pt x="211" y="5"/>
                    </a:lnTo>
                    <a:lnTo>
                      <a:pt x="206" y="3"/>
                    </a:lnTo>
                    <a:lnTo>
                      <a:pt x="200" y="1"/>
                    </a:lnTo>
                    <a:lnTo>
                      <a:pt x="195" y="0"/>
                    </a:lnTo>
                    <a:lnTo>
                      <a:pt x="31" y="0"/>
                    </a:lnTo>
                    <a:lnTo>
                      <a:pt x="31" y="0"/>
                    </a:lnTo>
                    <a:lnTo>
                      <a:pt x="26" y="1"/>
                    </a:lnTo>
                    <a:lnTo>
                      <a:pt x="19" y="3"/>
                    </a:lnTo>
                    <a:lnTo>
                      <a:pt x="14" y="5"/>
                    </a:lnTo>
                    <a:lnTo>
                      <a:pt x="10" y="9"/>
                    </a:lnTo>
                    <a:lnTo>
                      <a:pt x="6" y="13"/>
                    </a:lnTo>
                    <a:lnTo>
                      <a:pt x="3" y="19"/>
                    </a:lnTo>
                    <a:lnTo>
                      <a:pt x="2" y="24"/>
                    </a:lnTo>
                    <a:lnTo>
                      <a:pt x="0" y="31"/>
                    </a:lnTo>
                    <a:lnTo>
                      <a:pt x="0" y="262"/>
                    </a:lnTo>
                    <a:lnTo>
                      <a:pt x="0" y="262"/>
                    </a:lnTo>
                    <a:lnTo>
                      <a:pt x="2" y="267"/>
                    </a:lnTo>
                    <a:lnTo>
                      <a:pt x="3" y="273"/>
                    </a:lnTo>
                    <a:lnTo>
                      <a:pt x="6" y="278"/>
                    </a:lnTo>
                    <a:lnTo>
                      <a:pt x="10" y="282"/>
                    </a:lnTo>
                    <a:lnTo>
                      <a:pt x="14" y="286"/>
                    </a:lnTo>
                    <a:lnTo>
                      <a:pt x="19" y="289"/>
                    </a:lnTo>
                    <a:lnTo>
                      <a:pt x="26" y="291"/>
                    </a:lnTo>
                    <a:lnTo>
                      <a:pt x="31" y="291"/>
                    </a:lnTo>
                    <a:lnTo>
                      <a:pt x="144" y="291"/>
                    </a:lnTo>
                    <a:lnTo>
                      <a:pt x="144" y="231"/>
                    </a:lnTo>
                    <a:lnTo>
                      <a:pt x="26" y="231"/>
                    </a:lnTo>
                    <a:lnTo>
                      <a:pt x="26" y="231"/>
                    </a:lnTo>
                    <a:lnTo>
                      <a:pt x="22" y="230"/>
                    </a:lnTo>
                    <a:lnTo>
                      <a:pt x="20" y="226"/>
                    </a:lnTo>
                    <a:lnTo>
                      <a:pt x="20" y="226"/>
                    </a:lnTo>
                    <a:close/>
                    <a:moveTo>
                      <a:pt x="113" y="246"/>
                    </a:moveTo>
                    <a:lnTo>
                      <a:pt x="113" y="246"/>
                    </a:lnTo>
                    <a:lnTo>
                      <a:pt x="118" y="247"/>
                    </a:lnTo>
                    <a:lnTo>
                      <a:pt x="124" y="251"/>
                    </a:lnTo>
                    <a:lnTo>
                      <a:pt x="127" y="255"/>
                    </a:lnTo>
                    <a:lnTo>
                      <a:pt x="128" y="262"/>
                    </a:lnTo>
                    <a:lnTo>
                      <a:pt x="128" y="262"/>
                    </a:lnTo>
                    <a:lnTo>
                      <a:pt x="127" y="267"/>
                    </a:lnTo>
                    <a:lnTo>
                      <a:pt x="124" y="271"/>
                    </a:lnTo>
                    <a:lnTo>
                      <a:pt x="118" y="275"/>
                    </a:lnTo>
                    <a:lnTo>
                      <a:pt x="113" y="277"/>
                    </a:lnTo>
                    <a:lnTo>
                      <a:pt x="113" y="277"/>
                    </a:lnTo>
                    <a:lnTo>
                      <a:pt x="106" y="275"/>
                    </a:lnTo>
                    <a:lnTo>
                      <a:pt x="102" y="271"/>
                    </a:lnTo>
                    <a:lnTo>
                      <a:pt x="98" y="267"/>
                    </a:lnTo>
                    <a:lnTo>
                      <a:pt x="97" y="262"/>
                    </a:lnTo>
                    <a:lnTo>
                      <a:pt x="97" y="262"/>
                    </a:lnTo>
                    <a:lnTo>
                      <a:pt x="98" y="255"/>
                    </a:lnTo>
                    <a:lnTo>
                      <a:pt x="102" y="251"/>
                    </a:lnTo>
                    <a:lnTo>
                      <a:pt x="106" y="247"/>
                    </a:lnTo>
                    <a:lnTo>
                      <a:pt x="113" y="246"/>
                    </a:lnTo>
                    <a:lnTo>
                      <a:pt x="113" y="2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grpSp>
        <p:grpSp>
          <p:nvGrpSpPr>
            <p:cNvPr id="22" name="Group 21">
              <a:extLst>
                <a:ext uri="{FF2B5EF4-FFF2-40B4-BE49-F238E27FC236}">
                  <a16:creationId xmlns:a16="http://schemas.microsoft.com/office/drawing/2014/main" id="{F1256054-66BF-4ADF-939E-C42E9F4596BB}"/>
                </a:ext>
              </a:extLst>
            </p:cNvPr>
            <p:cNvGrpSpPr/>
            <p:nvPr/>
          </p:nvGrpSpPr>
          <p:grpSpPr>
            <a:xfrm>
              <a:off x="4563821" y="2209679"/>
              <a:ext cx="2148407" cy="400993"/>
              <a:chOff x="795502" y="4249807"/>
              <a:chExt cx="2148407" cy="400993"/>
            </a:xfrm>
          </p:grpSpPr>
          <p:sp>
            <p:nvSpPr>
              <p:cNvPr id="69" name="TextBox 68">
                <a:extLst>
                  <a:ext uri="{FF2B5EF4-FFF2-40B4-BE49-F238E27FC236}">
                    <a16:creationId xmlns:a16="http://schemas.microsoft.com/office/drawing/2014/main" id="{D845DB5F-286E-440C-9AB8-34396E1152D9}"/>
                  </a:ext>
                </a:extLst>
              </p:cNvPr>
              <p:cNvSpPr txBox="1"/>
              <p:nvPr/>
            </p:nvSpPr>
            <p:spPr>
              <a:xfrm>
                <a:off x="1389429" y="4302271"/>
                <a:ext cx="1554480" cy="276999"/>
              </a:xfrm>
              <a:prstGeom prst="rect">
                <a:avLst/>
              </a:prstGeom>
              <a:noFill/>
            </p:spPr>
            <p:txBody>
              <a:bodyPr wrap="square" rtlCol="0">
                <a:spAutoFit/>
              </a:bodyPr>
              <a:lstStyle/>
              <a:p>
                <a:pPr marL="0" marR="0" lvl="0" indent="0" algn="l" defTabSz="12176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Verdana"/>
                    <a:ea typeface="Roboto" panose="02000000000000000000" pitchFamily="2" charset="0"/>
                    <a:cs typeface="+mn-cs"/>
                  </a:rPr>
                  <a:t>interaction studio</a:t>
                </a:r>
              </a:p>
            </p:txBody>
          </p:sp>
          <p:pic>
            <p:nvPicPr>
              <p:cNvPr id="70" name="Picture 2" descr="Image result for salesforce logo">
                <a:extLst>
                  <a:ext uri="{FF2B5EF4-FFF2-40B4-BE49-F238E27FC236}">
                    <a16:creationId xmlns:a16="http://schemas.microsoft.com/office/drawing/2014/main" id="{FCDE2F24-065E-4DAA-B995-F284CE90EB2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5502" y="4249807"/>
                <a:ext cx="572807" cy="4009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Group 22">
              <a:extLst>
                <a:ext uri="{FF2B5EF4-FFF2-40B4-BE49-F238E27FC236}">
                  <a16:creationId xmlns:a16="http://schemas.microsoft.com/office/drawing/2014/main" id="{0CFCD2EA-81D5-4DA6-80C2-5AE8B313E304}"/>
                </a:ext>
              </a:extLst>
            </p:cNvPr>
            <p:cNvGrpSpPr/>
            <p:nvPr/>
          </p:nvGrpSpPr>
          <p:grpSpPr>
            <a:xfrm>
              <a:off x="9161018" y="2367318"/>
              <a:ext cx="2182988" cy="473500"/>
              <a:chOff x="795502" y="4249807"/>
              <a:chExt cx="2182988" cy="473500"/>
            </a:xfrm>
          </p:grpSpPr>
          <p:sp>
            <p:nvSpPr>
              <p:cNvPr id="67" name="TextBox 66">
                <a:extLst>
                  <a:ext uri="{FF2B5EF4-FFF2-40B4-BE49-F238E27FC236}">
                    <a16:creationId xmlns:a16="http://schemas.microsoft.com/office/drawing/2014/main" id="{4BE29BE5-1F4E-442E-BC1F-3B9968EFD093}"/>
                  </a:ext>
                </a:extLst>
              </p:cNvPr>
              <p:cNvSpPr txBox="1"/>
              <p:nvPr/>
            </p:nvSpPr>
            <p:spPr>
              <a:xfrm>
                <a:off x="1424010" y="4261642"/>
                <a:ext cx="1554480" cy="461665"/>
              </a:xfrm>
              <a:prstGeom prst="rect">
                <a:avLst/>
              </a:prstGeom>
              <a:noFill/>
            </p:spPr>
            <p:txBody>
              <a:bodyPr wrap="square" rtlCol="0">
                <a:spAutoFit/>
              </a:bodyPr>
              <a:lstStyle/>
              <a:p>
                <a:pPr marL="0" marR="0" lvl="0" indent="0" algn="l" defTabSz="12176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Verdana"/>
                    <a:ea typeface="Roboto" panose="02000000000000000000" pitchFamily="2" charset="0"/>
                    <a:cs typeface="+mn-cs"/>
                  </a:rPr>
                  <a:t>Sales/service cloud</a:t>
                </a:r>
              </a:p>
            </p:txBody>
          </p:sp>
          <p:pic>
            <p:nvPicPr>
              <p:cNvPr id="68" name="Picture 2" descr="Image result for salesforce logo">
                <a:extLst>
                  <a:ext uri="{FF2B5EF4-FFF2-40B4-BE49-F238E27FC236}">
                    <a16:creationId xmlns:a16="http://schemas.microsoft.com/office/drawing/2014/main" id="{4217BA31-5F96-48F1-A8D2-13762828C88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5502" y="4249807"/>
                <a:ext cx="572807" cy="4009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Group 23">
              <a:extLst>
                <a:ext uri="{FF2B5EF4-FFF2-40B4-BE49-F238E27FC236}">
                  <a16:creationId xmlns:a16="http://schemas.microsoft.com/office/drawing/2014/main" id="{4019866D-9FE0-47F9-B693-9783464CEEA0}"/>
                </a:ext>
              </a:extLst>
            </p:cNvPr>
            <p:cNvGrpSpPr/>
            <p:nvPr/>
          </p:nvGrpSpPr>
          <p:grpSpPr>
            <a:xfrm>
              <a:off x="9161018" y="3782409"/>
              <a:ext cx="2182988" cy="400993"/>
              <a:chOff x="795502" y="4249807"/>
              <a:chExt cx="2182988" cy="400993"/>
            </a:xfrm>
          </p:grpSpPr>
          <p:sp>
            <p:nvSpPr>
              <p:cNvPr id="65" name="TextBox 64">
                <a:extLst>
                  <a:ext uri="{FF2B5EF4-FFF2-40B4-BE49-F238E27FC236}">
                    <a16:creationId xmlns:a16="http://schemas.microsoft.com/office/drawing/2014/main" id="{BFB7075A-419C-4D2C-A6A3-858EDD63A649}"/>
                  </a:ext>
                </a:extLst>
              </p:cNvPr>
              <p:cNvSpPr txBox="1"/>
              <p:nvPr/>
            </p:nvSpPr>
            <p:spPr>
              <a:xfrm>
                <a:off x="1424010" y="4261642"/>
                <a:ext cx="1554480" cy="276999"/>
              </a:xfrm>
              <a:prstGeom prst="rect">
                <a:avLst/>
              </a:prstGeom>
              <a:noFill/>
            </p:spPr>
            <p:txBody>
              <a:bodyPr wrap="square" rtlCol="0">
                <a:spAutoFit/>
              </a:bodyPr>
              <a:lstStyle/>
              <a:p>
                <a:pPr marL="0" marR="0" lvl="0" indent="0" algn="l" defTabSz="12176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Verdana"/>
                    <a:ea typeface="Roboto" panose="02000000000000000000" pitchFamily="2" charset="0"/>
                    <a:cs typeface="+mn-cs"/>
                  </a:rPr>
                  <a:t>marketing cloud</a:t>
                </a:r>
              </a:p>
            </p:txBody>
          </p:sp>
          <p:pic>
            <p:nvPicPr>
              <p:cNvPr id="66" name="Picture 2" descr="Image result for salesforce logo">
                <a:extLst>
                  <a:ext uri="{FF2B5EF4-FFF2-40B4-BE49-F238E27FC236}">
                    <a16:creationId xmlns:a16="http://schemas.microsoft.com/office/drawing/2014/main" id="{BFA4F30F-3388-4175-B489-5390953725B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5502" y="4249807"/>
                <a:ext cx="572807" cy="400993"/>
              </a:xfrm>
              <a:prstGeom prst="rect">
                <a:avLst/>
              </a:prstGeom>
              <a:noFill/>
              <a:extLst>
                <a:ext uri="{909E8E84-426E-40DD-AFC4-6F175D3DCCD1}">
                  <a14:hiddenFill xmlns:a14="http://schemas.microsoft.com/office/drawing/2010/main">
                    <a:solidFill>
                      <a:srgbClr val="FFFFFF"/>
                    </a:solidFill>
                  </a14:hiddenFill>
                </a:ext>
              </a:extLst>
            </p:spPr>
          </p:pic>
        </p:grpSp>
        <p:sp>
          <p:nvSpPr>
            <p:cNvPr id="25" name="TextBox 24">
              <a:extLst>
                <a:ext uri="{FF2B5EF4-FFF2-40B4-BE49-F238E27FC236}">
                  <a16:creationId xmlns:a16="http://schemas.microsoft.com/office/drawing/2014/main" id="{00C64D18-B0C9-4E28-9815-ED21DE95756D}"/>
                </a:ext>
              </a:extLst>
            </p:cNvPr>
            <p:cNvSpPr txBox="1"/>
            <p:nvPr/>
          </p:nvSpPr>
          <p:spPr>
            <a:xfrm>
              <a:off x="8619705" y="5280940"/>
              <a:ext cx="2064824" cy="461665"/>
            </a:xfrm>
            <a:prstGeom prst="rect">
              <a:avLst/>
            </a:prstGeom>
            <a:noFill/>
          </p:spPr>
          <p:txBody>
            <a:bodyPr wrap="square" rtlCol="0">
              <a:spAutoFit/>
            </a:bodyPr>
            <a:lstStyle/>
            <a:p>
              <a:pPr marL="0" marR="0" lvl="0" indent="0" algn="ctr" defTabSz="1217613"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300" normalizeH="0" baseline="0" noProof="0" dirty="0">
                  <a:ln>
                    <a:noFill/>
                  </a:ln>
                  <a:solidFill>
                    <a:srgbClr val="A5A5A5">
                      <a:lumMod val="50000"/>
                    </a:srgbClr>
                  </a:solidFill>
                  <a:effectLst/>
                  <a:uLnTx/>
                  <a:uFillTx/>
                  <a:latin typeface="Verdana"/>
                  <a:ea typeface="+mn-ea"/>
                  <a:cs typeface="+mn-cs"/>
                </a:rPr>
                <a:t>WEBSITE + ECOMMERCE PLATFORM </a:t>
              </a:r>
            </a:p>
          </p:txBody>
        </p:sp>
        <p:cxnSp>
          <p:nvCxnSpPr>
            <p:cNvPr id="26" name="Connector: Elbow 25">
              <a:extLst>
                <a:ext uri="{FF2B5EF4-FFF2-40B4-BE49-F238E27FC236}">
                  <a16:creationId xmlns:a16="http://schemas.microsoft.com/office/drawing/2014/main" id="{13DF3DE3-DF1A-4458-ADB1-27B90274B9C0}"/>
                </a:ext>
              </a:extLst>
            </p:cNvPr>
            <p:cNvCxnSpPr>
              <a:cxnSpLocks/>
              <a:stCxn id="8" idx="3"/>
            </p:cNvCxnSpPr>
            <p:nvPr/>
          </p:nvCxnSpPr>
          <p:spPr>
            <a:xfrm flipV="1">
              <a:off x="6949126" y="2517653"/>
              <a:ext cx="1915447" cy="652728"/>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8154D7CE-0148-4530-A603-F31FC66EDECF}"/>
                </a:ext>
              </a:extLst>
            </p:cNvPr>
            <p:cNvCxnSpPr>
              <a:cxnSpLocks/>
            </p:cNvCxnSpPr>
            <p:nvPr/>
          </p:nvCxnSpPr>
          <p:spPr>
            <a:xfrm>
              <a:off x="6949126" y="4006832"/>
              <a:ext cx="2073780" cy="992597"/>
            </a:xfrm>
            <a:prstGeom prst="bentConnector3">
              <a:avLst>
                <a:gd name="adj1" fmla="val 46287"/>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67B76999-4E5A-482C-84D4-8F4C8E5FCBAE}"/>
                </a:ext>
              </a:extLst>
            </p:cNvPr>
            <p:cNvGrpSpPr>
              <a:grpSpLocks noChangeAspect="1"/>
            </p:cNvGrpSpPr>
            <p:nvPr/>
          </p:nvGrpSpPr>
          <p:grpSpPr>
            <a:xfrm>
              <a:off x="9292548" y="4694371"/>
              <a:ext cx="520700" cy="520700"/>
              <a:chOff x="4060826" y="5859463"/>
              <a:chExt cx="520700" cy="520700"/>
            </a:xfrm>
          </p:grpSpPr>
          <p:sp>
            <p:nvSpPr>
              <p:cNvPr id="61" name="Freeform 85">
                <a:extLst>
                  <a:ext uri="{FF2B5EF4-FFF2-40B4-BE49-F238E27FC236}">
                    <a16:creationId xmlns:a16="http://schemas.microsoft.com/office/drawing/2014/main" id="{62698972-9288-4DA3-A212-0A428B96E652}"/>
                  </a:ext>
                </a:extLst>
              </p:cNvPr>
              <p:cNvSpPr>
                <a:spLocks noEditPoints="1"/>
              </p:cNvSpPr>
              <p:nvPr/>
            </p:nvSpPr>
            <p:spPr bwMode="auto">
              <a:xfrm>
                <a:off x="4060826" y="5859463"/>
                <a:ext cx="520700" cy="520700"/>
              </a:xfrm>
              <a:custGeom>
                <a:avLst/>
                <a:gdLst>
                  <a:gd name="T0" fmla="*/ 311 w 657"/>
                  <a:gd name="T1" fmla="*/ 657 h 657"/>
                  <a:gd name="T2" fmla="*/ 262 w 657"/>
                  <a:gd name="T3" fmla="*/ 650 h 657"/>
                  <a:gd name="T4" fmla="*/ 200 w 657"/>
                  <a:gd name="T5" fmla="*/ 631 h 657"/>
                  <a:gd name="T6" fmla="*/ 119 w 657"/>
                  <a:gd name="T7" fmla="*/ 582 h 657"/>
                  <a:gd name="T8" fmla="*/ 56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5 w 657"/>
                  <a:gd name="T29" fmla="*/ 2 h 657"/>
                  <a:gd name="T30" fmla="*/ 329 w 657"/>
                  <a:gd name="T31" fmla="*/ 0 h 657"/>
                  <a:gd name="T32" fmla="*/ 379 w 657"/>
                  <a:gd name="T33" fmla="*/ 4 h 657"/>
                  <a:gd name="T34" fmla="*/ 426 w 657"/>
                  <a:gd name="T35" fmla="*/ 15 h 657"/>
                  <a:gd name="T36" fmla="*/ 512 w 657"/>
                  <a:gd name="T37" fmla="*/ 57 h 657"/>
                  <a:gd name="T38" fmla="*/ 581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1 w 657"/>
                  <a:gd name="T53" fmla="*/ 537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6 w 657"/>
                  <a:gd name="T67" fmla="*/ 87 h 657"/>
                  <a:gd name="T68" fmla="*/ 103 w 657"/>
                  <a:gd name="T69" fmla="*/ 144 h 657"/>
                  <a:gd name="T70" fmla="*/ 60 w 657"/>
                  <a:gd name="T71" fmla="*/ 215 h 657"/>
                  <a:gd name="T72" fmla="*/ 39 w 657"/>
                  <a:gd name="T73" fmla="*/ 298 h 657"/>
                  <a:gd name="T74" fmla="*/ 39 w 657"/>
                  <a:gd name="T75" fmla="*/ 359 h 657"/>
                  <a:gd name="T76" fmla="*/ 60 w 657"/>
                  <a:gd name="T77" fmla="*/ 442 h 657"/>
                  <a:gd name="T78" fmla="*/ 103 w 657"/>
                  <a:gd name="T79" fmla="*/ 513 h 657"/>
                  <a:gd name="T80" fmla="*/ 166 w 657"/>
                  <a:gd name="T81" fmla="*/ 570 h 657"/>
                  <a:gd name="T82" fmla="*/ 242 w 657"/>
                  <a:gd name="T83" fmla="*/ 607 h 657"/>
                  <a:gd name="T84" fmla="*/ 329 w 657"/>
                  <a:gd name="T85" fmla="*/ 619 h 657"/>
                  <a:gd name="T86" fmla="*/ 387 w 657"/>
                  <a:gd name="T87" fmla="*/ 614 h 657"/>
                  <a:gd name="T88" fmla="*/ 467 w 657"/>
                  <a:gd name="T89" fmla="*/ 584 h 657"/>
                  <a:gd name="T90" fmla="*/ 534 w 657"/>
                  <a:gd name="T91" fmla="*/ 535 h 657"/>
                  <a:gd name="T92" fmla="*/ 584 w 657"/>
                  <a:gd name="T93" fmla="*/ 468 h 657"/>
                  <a:gd name="T94" fmla="*/ 614 w 657"/>
                  <a:gd name="T95" fmla="*/ 387 h 657"/>
                  <a:gd name="T96" fmla="*/ 619 w 657"/>
                  <a:gd name="T97" fmla="*/ 329 h 657"/>
                  <a:gd name="T98" fmla="*/ 607 w 657"/>
                  <a:gd name="T99" fmla="*/ 242 h 657"/>
                  <a:gd name="T100" fmla="*/ 569 w 657"/>
                  <a:gd name="T101" fmla="*/ 165 h 657"/>
                  <a:gd name="T102" fmla="*/ 513 w 657"/>
                  <a:gd name="T103" fmla="*/ 104 h 657"/>
                  <a:gd name="T104" fmla="*/ 442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1" y="657"/>
                    </a:lnTo>
                    <a:lnTo>
                      <a:pt x="295" y="656"/>
                    </a:lnTo>
                    <a:lnTo>
                      <a:pt x="278" y="653"/>
                    </a:lnTo>
                    <a:lnTo>
                      <a:pt x="262" y="650"/>
                    </a:lnTo>
                    <a:lnTo>
                      <a:pt x="247" y="648"/>
                    </a:lnTo>
                    <a:lnTo>
                      <a:pt x="231" y="642"/>
                    </a:lnTo>
                    <a:lnTo>
                      <a:pt x="200" y="631"/>
                    </a:lnTo>
                    <a:lnTo>
                      <a:pt x="172" y="618"/>
                    </a:lnTo>
                    <a:lnTo>
                      <a:pt x="145" y="601"/>
                    </a:lnTo>
                    <a:lnTo>
                      <a:pt x="119" y="582"/>
                    </a:lnTo>
                    <a:lnTo>
                      <a:pt x="97" y="560"/>
                    </a:lnTo>
                    <a:lnTo>
                      <a:pt x="75" y="537"/>
                    </a:lnTo>
                    <a:lnTo>
                      <a:pt x="56" y="512"/>
                    </a:lnTo>
                    <a:lnTo>
                      <a:pt x="39" y="485"/>
                    </a:lnTo>
                    <a:lnTo>
                      <a:pt x="25" y="457"/>
                    </a:lnTo>
                    <a:lnTo>
                      <a:pt x="15" y="426"/>
                    </a:lnTo>
                    <a:lnTo>
                      <a:pt x="11" y="411"/>
                    </a:lnTo>
                    <a:lnTo>
                      <a:pt x="7" y="395"/>
                    </a:lnTo>
                    <a:lnTo>
                      <a:pt x="4" y="379"/>
                    </a:lnTo>
                    <a:lnTo>
                      <a:pt x="1" y="362"/>
                    </a:lnTo>
                    <a:lnTo>
                      <a:pt x="0" y="345"/>
                    </a:lnTo>
                    <a:lnTo>
                      <a:pt x="0" y="329"/>
                    </a:lnTo>
                    <a:lnTo>
                      <a:pt x="0" y="329"/>
                    </a:lnTo>
                    <a:lnTo>
                      <a:pt x="0" y="312"/>
                    </a:lnTo>
                    <a:lnTo>
                      <a:pt x="1" y="296"/>
                    </a:lnTo>
                    <a:lnTo>
                      <a:pt x="4" y="278"/>
                    </a:lnTo>
                    <a:lnTo>
                      <a:pt x="7" y="262"/>
                    </a:lnTo>
                    <a:lnTo>
                      <a:pt x="11" y="246"/>
                    </a:lnTo>
                    <a:lnTo>
                      <a:pt x="15" y="231"/>
                    </a:lnTo>
                    <a:lnTo>
                      <a:pt x="25" y="200"/>
                    </a:lnTo>
                    <a:lnTo>
                      <a:pt x="39" y="172"/>
                    </a:lnTo>
                    <a:lnTo>
                      <a:pt x="56" y="145"/>
                    </a:lnTo>
                    <a:lnTo>
                      <a:pt x="75" y="120"/>
                    </a:lnTo>
                    <a:lnTo>
                      <a:pt x="97" y="97"/>
                    </a:lnTo>
                    <a:lnTo>
                      <a:pt x="119" y="75"/>
                    </a:lnTo>
                    <a:lnTo>
                      <a:pt x="145" y="57"/>
                    </a:lnTo>
                    <a:lnTo>
                      <a:pt x="172" y="39"/>
                    </a:lnTo>
                    <a:lnTo>
                      <a:pt x="200" y="26"/>
                    </a:lnTo>
                    <a:lnTo>
                      <a:pt x="231" y="15"/>
                    </a:lnTo>
                    <a:lnTo>
                      <a:pt x="247" y="10"/>
                    </a:lnTo>
                    <a:lnTo>
                      <a:pt x="262" y="7"/>
                    </a:lnTo>
                    <a:lnTo>
                      <a:pt x="278" y="4"/>
                    </a:lnTo>
                    <a:lnTo>
                      <a:pt x="295" y="2"/>
                    </a:lnTo>
                    <a:lnTo>
                      <a:pt x="311" y="0"/>
                    </a:lnTo>
                    <a:lnTo>
                      <a:pt x="329" y="0"/>
                    </a:lnTo>
                    <a:lnTo>
                      <a:pt x="329" y="0"/>
                    </a:lnTo>
                    <a:lnTo>
                      <a:pt x="345" y="0"/>
                    </a:lnTo>
                    <a:lnTo>
                      <a:pt x="362" y="2"/>
                    </a:lnTo>
                    <a:lnTo>
                      <a:pt x="379" y="4"/>
                    </a:lnTo>
                    <a:lnTo>
                      <a:pt x="395" y="7"/>
                    </a:lnTo>
                    <a:lnTo>
                      <a:pt x="411" y="10"/>
                    </a:lnTo>
                    <a:lnTo>
                      <a:pt x="426" y="15"/>
                    </a:lnTo>
                    <a:lnTo>
                      <a:pt x="457" y="26"/>
                    </a:lnTo>
                    <a:lnTo>
                      <a:pt x="485" y="39"/>
                    </a:lnTo>
                    <a:lnTo>
                      <a:pt x="512" y="57"/>
                    </a:lnTo>
                    <a:lnTo>
                      <a:pt x="537" y="75"/>
                    </a:lnTo>
                    <a:lnTo>
                      <a:pt x="561" y="97"/>
                    </a:lnTo>
                    <a:lnTo>
                      <a:pt x="581" y="120"/>
                    </a:lnTo>
                    <a:lnTo>
                      <a:pt x="602" y="145"/>
                    </a:lnTo>
                    <a:lnTo>
                      <a:pt x="618" y="172"/>
                    </a:lnTo>
                    <a:lnTo>
                      <a:pt x="631" y="200"/>
                    </a:lnTo>
                    <a:lnTo>
                      <a:pt x="642" y="231"/>
                    </a:lnTo>
                    <a:lnTo>
                      <a:pt x="647" y="246"/>
                    </a:lnTo>
                    <a:lnTo>
                      <a:pt x="650" y="262"/>
                    </a:lnTo>
                    <a:lnTo>
                      <a:pt x="654" y="278"/>
                    </a:lnTo>
                    <a:lnTo>
                      <a:pt x="655" y="296"/>
                    </a:lnTo>
                    <a:lnTo>
                      <a:pt x="657" y="312"/>
                    </a:lnTo>
                    <a:lnTo>
                      <a:pt x="657" y="329"/>
                    </a:lnTo>
                    <a:lnTo>
                      <a:pt x="657" y="329"/>
                    </a:lnTo>
                    <a:lnTo>
                      <a:pt x="657" y="345"/>
                    </a:lnTo>
                    <a:lnTo>
                      <a:pt x="655" y="362"/>
                    </a:lnTo>
                    <a:lnTo>
                      <a:pt x="654" y="379"/>
                    </a:lnTo>
                    <a:lnTo>
                      <a:pt x="650" y="395"/>
                    </a:lnTo>
                    <a:lnTo>
                      <a:pt x="647" y="411"/>
                    </a:lnTo>
                    <a:lnTo>
                      <a:pt x="642" y="426"/>
                    </a:lnTo>
                    <a:lnTo>
                      <a:pt x="631" y="457"/>
                    </a:lnTo>
                    <a:lnTo>
                      <a:pt x="618" y="485"/>
                    </a:lnTo>
                    <a:lnTo>
                      <a:pt x="602" y="512"/>
                    </a:lnTo>
                    <a:lnTo>
                      <a:pt x="581" y="537"/>
                    </a:lnTo>
                    <a:lnTo>
                      <a:pt x="561" y="560"/>
                    </a:lnTo>
                    <a:lnTo>
                      <a:pt x="537" y="582"/>
                    </a:lnTo>
                    <a:lnTo>
                      <a:pt x="512" y="601"/>
                    </a:lnTo>
                    <a:lnTo>
                      <a:pt x="485" y="618"/>
                    </a:lnTo>
                    <a:lnTo>
                      <a:pt x="457" y="631"/>
                    </a:lnTo>
                    <a:lnTo>
                      <a:pt x="426" y="642"/>
                    </a:lnTo>
                    <a:lnTo>
                      <a:pt x="411" y="648"/>
                    </a:lnTo>
                    <a:lnTo>
                      <a:pt x="395" y="650"/>
                    </a:lnTo>
                    <a:lnTo>
                      <a:pt x="379" y="653"/>
                    </a:lnTo>
                    <a:lnTo>
                      <a:pt x="362" y="656"/>
                    </a:lnTo>
                    <a:lnTo>
                      <a:pt x="345" y="657"/>
                    </a:lnTo>
                    <a:lnTo>
                      <a:pt x="329" y="657"/>
                    </a:lnTo>
                    <a:lnTo>
                      <a:pt x="329" y="657"/>
                    </a:lnTo>
                    <a:close/>
                    <a:moveTo>
                      <a:pt x="329" y="38"/>
                    </a:moveTo>
                    <a:lnTo>
                      <a:pt x="329" y="38"/>
                    </a:lnTo>
                    <a:lnTo>
                      <a:pt x="299" y="39"/>
                    </a:lnTo>
                    <a:lnTo>
                      <a:pt x="270" y="43"/>
                    </a:lnTo>
                    <a:lnTo>
                      <a:pt x="242" y="51"/>
                    </a:lnTo>
                    <a:lnTo>
                      <a:pt x="215" y="61"/>
                    </a:lnTo>
                    <a:lnTo>
                      <a:pt x="189" y="73"/>
                    </a:lnTo>
                    <a:lnTo>
                      <a:pt x="166" y="87"/>
                    </a:lnTo>
                    <a:lnTo>
                      <a:pt x="144" y="104"/>
                    </a:lnTo>
                    <a:lnTo>
                      <a:pt x="122" y="122"/>
                    </a:lnTo>
                    <a:lnTo>
                      <a:pt x="103" y="144"/>
                    </a:lnTo>
                    <a:lnTo>
                      <a:pt x="87" y="165"/>
                    </a:lnTo>
                    <a:lnTo>
                      <a:pt x="72" y="190"/>
                    </a:lnTo>
                    <a:lnTo>
                      <a:pt x="60" y="215"/>
                    </a:lnTo>
                    <a:lnTo>
                      <a:pt x="51" y="242"/>
                    </a:lnTo>
                    <a:lnTo>
                      <a:pt x="43" y="270"/>
                    </a:lnTo>
                    <a:lnTo>
                      <a:pt x="39" y="298"/>
                    </a:lnTo>
                    <a:lnTo>
                      <a:pt x="37" y="329"/>
                    </a:lnTo>
                    <a:lnTo>
                      <a:pt x="37" y="329"/>
                    </a:lnTo>
                    <a:lnTo>
                      <a:pt x="39" y="359"/>
                    </a:lnTo>
                    <a:lnTo>
                      <a:pt x="43" y="387"/>
                    </a:lnTo>
                    <a:lnTo>
                      <a:pt x="51" y="415"/>
                    </a:lnTo>
                    <a:lnTo>
                      <a:pt x="60" y="442"/>
                    </a:lnTo>
                    <a:lnTo>
                      <a:pt x="72" y="468"/>
                    </a:lnTo>
                    <a:lnTo>
                      <a:pt x="87" y="492"/>
                    </a:lnTo>
                    <a:lnTo>
                      <a:pt x="103" y="513"/>
                    </a:lnTo>
                    <a:lnTo>
                      <a:pt x="122" y="535"/>
                    </a:lnTo>
                    <a:lnTo>
                      <a:pt x="144" y="554"/>
                    </a:lnTo>
                    <a:lnTo>
                      <a:pt x="166" y="570"/>
                    </a:lnTo>
                    <a:lnTo>
                      <a:pt x="189" y="584"/>
                    </a:lnTo>
                    <a:lnTo>
                      <a:pt x="215" y="597"/>
                    </a:lnTo>
                    <a:lnTo>
                      <a:pt x="242" y="607"/>
                    </a:lnTo>
                    <a:lnTo>
                      <a:pt x="270" y="614"/>
                    </a:lnTo>
                    <a:lnTo>
                      <a:pt x="299" y="618"/>
                    </a:lnTo>
                    <a:lnTo>
                      <a:pt x="329" y="619"/>
                    </a:lnTo>
                    <a:lnTo>
                      <a:pt x="329" y="619"/>
                    </a:lnTo>
                    <a:lnTo>
                      <a:pt x="358" y="618"/>
                    </a:lnTo>
                    <a:lnTo>
                      <a:pt x="387" y="614"/>
                    </a:lnTo>
                    <a:lnTo>
                      <a:pt x="415" y="607"/>
                    </a:lnTo>
                    <a:lnTo>
                      <a:pt x="442" y="597"/>
                    </a:lnTo>
                    <a:lnTo>
                      <a:pt x="467" y="584"/>
                    </a:lnTo>
                    <a:lnTo>
                      <a:pt x="491" y="570"/>
                    </a:lnTo>
                    <a:lnTo>
                      <a:pt x="513" y="554"/>
                    </a:lnTo>
                    <a:lnTo>
                      <a:pt x="534" y="535"/>
                    </a:lnTo>
                    <a:lnTo>
                      <a:pt x="553" y="513"/>
                    </a:lnTo>
                    <a:lnTo>
                      <a:pt x="569"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69" y="165"/>
                    </a:lnTo>
                    <a:lnTo>
                      <a:pt x="553" y="144"/>
                    </a:lnTo>
                    <a:lnTo>
                      <a:pt x="534" y="122"/>
                    </a:lnTo>
                    <a:lnTo>
                      <a:pt x="513" y="104"/>
                    </a:lnTo>
                    <a:lnTo>
                      <a:pt x="491" y="87"/>
                    </a:lnTo>
                    <a:lnTo>
                      <a:pt x="467" y="73"/>
                    </a:lnTo>
                    <a:lnTo>
                      <a:pt x="442" y="61"/>
                    </a:lnTo>
                    <a:lnTo>
                      <a:pt x="415" y="51"/>
                    </a:lnTo>
                    <a:lnTo>
                      <a:pt x="387" y="43"/>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2" name="Freeform 319">
                <a:extLst>
                  <a:ext uri="{FF2B5EF4-FFF2-40B4-BE49-F238E27FC236}">
                    <a16:creationId xmlns:a16="http://schemas.microsoft.com/office/drawing/2014/main" id="{12CC8A79-D63E-42E4-A48B-F301F71EB6EE}"/>
                  </a:ext>
                </a:extLst>
              </p:cNvPr>
              <p:cNvSpPr>
                <a:spLocks/>
              </p:cNvSpPr>
              <p:nvPr/>
            </p:nvSpPr>
            <p:spPr bwMode="auto">
              <a:xfrm>
                <a:off x="4200526" y="6005513"/>
                <a:ext cx="242888" cy="173038"/>
              </a:xfrm>
              <a:custGeom>
                <a:avLst/>
                <a:gdLst>
                  <a:gd name="T0" fmla="*/ 39 w 306"/>
                  <a:gd name="T1" fmla="*/ 207 h 219"/>
                  <a:gd name="T2" fmla="*/ 39 w 306"/>
                  <a:gd name="T3" fmla="*/ 207 h 219"/>
                  <a:gd name="T4" fmla="*/ 40 w 306"/>
                  <a:gd name="T5" fmla="*/ 212 h 219"/>
                  <a:gd name="T6" fmla="*/ 41 w 306"/>
                  <a:gd name="T7" fmla="*/ 215 h 219"/>
                  <a:gd name="T8" fmla="*/ 45 w 306"/>
                  <a:gd name="T9" fmla="*/ 218 h 219"/>
                  <a:gd name="T10" fmla="*/ 49 w 306"/>
                  <a:gd name="T11" fmla="*/ 219 h 219"/>
                  <a:gd name="T12" fmla="*/ 294 w 306"/>
                  <a:gd name="T13" fmla="*/ 219 h 219"/>
                  <a:gd name="T14" fmla="*/ 294 w 306"/>
                  <a:gd name="T15" fmla="*/ 219 h 219"/>
                  <a:gd name="T16" fmla="*/ 299 w 306"/>
                  <a:gd name="T17" fmla="*/ 218 h 219"/>
                  <a:gd name="T18" fmla="*/ 302 w 306"/>
                  <a:gd name="T19" fmla="*/ 215 h 219"/>
                  <a:gd name="T20" fmla="*/ 305 w 306"/>
                  <a:gd name="T21" fmla="*/ 212 h 219"/>
                  <a:gd name="T22" fmla="*/ 306 w 306"/>
                  <a:gd name="T23" fmla="*/ 207 h 219"/>
                  <a:gd name="T24" fmla="*/ 306 w 306"/>
                  <a:gd name="T25" fmla="*/ 207 h 219"/>
                  <a:gd name="T26" fmla="*/ 305 w 306"/>
                  <a:gd name="T27" fmla="*/ 203 h 219"/>
                  <a:gd name="T28" fmla="*/ 302 w 306"/>
                  <a:gd name="T29" fmla="*/ 199 h 219"/>
                  <a:gd name="T30" fmla="*/ 299 w 306"/>
                  <a:gd name="T31" fmla="*/ 196 h 219"/>
                  <a:gd name="T32" fmla="*/ 294 w 306"/>
                  <a:gd name="T33" fmla="*/ 196 h 219"/>
                  <a:gd name="T34" fmla="*/ 62 w 306"/>
                  <a:gd name="T35" fmla="*/ 196 h 219"/>
                  <a:gd name="T36" fmla="*/ 62 w 306"/>
                  <a:gd name="T37" fmla="*/ 180 h 219"/>
                  <a:gd name="T38" fmla="*/ 246 w 306"/>
                  <a:gd name="T39" fmla="*/ 180 h 219"/>
                  <a:gd name="T40" fmla="*/ 246 w 306"/>
                  <a:gd name="T41" fmla="*/ 180 h 219"/>
                  <a:gd name="T42" fmla="*/ 250 w 306"/>
                  <a:gd name="T43" fmla="*/ 179 h 219"/>
                  <a:gd name="T44" fmla="*/ 252 w 306"/>
                  <a:gd name="T45" fmla="*/ 178 h 219"/>
                  <a:gd name="T46" fmla="*/ 255 w 306"/>
                  <a:gd name="T47" fmla="*/ 175 h 219"/>
                  <a:gd name="T48" fmla="*/ 256 w 306"/>
                  <a:gd name="T49" fmla="*/ 171 h 219"/>
                  <a:gd name="T50" fmla="*/ 286 w 306"/>
                  <a:gd name="T51" fmla="*/ 54 h 219"/>
                  <a:gd name="T52" fmla="*/ 286 w 306"/>
                  <a:gd name="T53" fmla="*/ 54 h 219"/>
                  <a:gd name="T54" fmla="*/ 286 w 306"/>
                  <a:gd name="T55" fmla="*/ 50 h 219"/>
                  <a:gd name="T56" fmla="*/ 286 w 306"/>
                  <a:gd name="T57" fmla="*/ 47 h 219"/>
                  <a:gd name="T58" fmla="*/ 285 w 306"/>
                  <a:gd name="T59" fmla="*/ 45 h 219"/>
                  <a:gd name="T60" fmla="*/ 285 w 306"/>
                  <a:gd name="T61" fmla="*/ 45 h 219"/>
                  <a:gd name="T62" fmla="*/ 282 w 306"/>
                  <a:gd name="T63" fmla="*/ 42 h 219"/>
                  <a:gd name="T64" fmla="*/ 279 w 306"/>
                  <a:gd name="T65" fmla="*/ 40 h 219"/>
                  <a:gd name="T66" fmla="*/ 275 w 306"/>
                  <a:gd name="T67" fmla="*/ 40 h 219"/>
                  <a:gd name="T68" fmla="*/ 62 w 306"/>
                  <a:gd name="T69" fmla="*/ 40 h 219"/>
                  <a:gd name="T70" fmla="*/ 62 w 306"/>
                  <a:gd name="T71" fmla="*/ 12 h 219"/>
                  <a:gd name="T72" fmla="*/ 62 w 306"/>
                  <a:gd name="T73" fmla="*/ 12 h 219"/>
                  <a:gd name="T74" fmla="*/ 60 w 306"/>
                  <a:gd name="T75" fmla="*/ 8 h 219"/>
                  <a:gd name="T76" fmla="*/ 59 w 306"/>
                  <a:gd name="T77" fmla="*/ 4 h 219"/>
                  <a:gd name="T78" fmla="*/ 55 w 306"/>
                  <a:gd name="T79" fmla="*/ 2 h 219"/>
                  <a:gd name="T80" fmla="*/ 49 w 306"/>
                  <a:gd name="T81" fmla="*/ 0 h 219"/>
                  <a:gd name="T82" fmla="*/ 11 w 306"/>
                  <a:gd name="T83" fmla="*/ 0 h 219"/>
                  <a:gd name="T84" fmla="*/ 11 w 306"/>
                  <a:gd name="T85" fmla="*/ 0 h 219"/>
                  <a:gd name="T86" fmla="*/ 6 w 306"/>
                  <a:gd name="T87" fmla="*/ 2 h 219"/>
                  <a:gd name="T88" fmla="*/ 2 w 306"/>
                  <a:gd name="T89" fmla="*/ 4 h 219"/>
                  <a:gd name="T90" fmla="*/ 1 w 306"/>
                  <a:gd name="T91" fmla="*/ 8 h 219"/>
                  <a:gd name="T92" fmla="*/ 0 w 306"/>
                  <a:gd name="T93" fmla="*/ 12 h 219"/>
                  <a:gd name="T94" fmla="*/ 0 w 306"/>
                  <a:gd name="T95" fmla="*/ 12 h 219"/>
                  <a:gd name="T96" fmla="*/ 1 w 306"/>
                  <a:gd name="T97" fmla="*/ 16 h 219"/>
                  <a:gd name="T98" fmla="*/ 2 w 306"/>
                  <a:gd name="T99" fmla="*/ 20 h 219"/>
                  <a:gd name="T100" fmla="*/ 6 w 306"/>
                  <a:gd name="T101" fmla="*/ 23 h 219"/>
                  <a:gd name="T102" fmla="*/ 11 w 306"/>
                  <a:gd name="T103" fmla="*/ 24 h 219"/>
                  <a:gd name="T104" fmla="*/ 39 w 306"/>
                  <a:gd name="T105" fmla="*/ 24 h 219"/>
                  <a:gd name="T106" fmla="*/ 39 w 306"/>
                  <a:gd name="T107" fmla="*/ 20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219">
                    <a:moveTo>
                      <a:pt x="39" y="207"/>
                    </a:moveTo>
                    <a:lnTo>
                      <a:pt x="39" y="207"/>
                    </a:lnTo>
                    <a:lnTo>
                      <a:pt x="40" y="212"/>
                    </a:lnTo>
                    <a:lnTo>
                      <a:pt x="41" y="215"/>
                    </a:lnTo>
                    <a:lnTo>
                      <a:pt x="45" y="218"/>
                    </a:lnTo>
                    <a:lnTo>
                      <a:pt x="49" y="219"/>
                    </a:lnTo>
                    <a:lnTo>
                      <a:pt x="294" y="219"/>
                    </a:lnTo>
                    <a:lnTo>
                      <a:pt x="294" y="219"/>
                    </a:lnTo>
                    <a:lnTo>
                      <a:pt x="299" y="218"/>
                    </a:lnTo>
                    <a:lnTo>
                      <a:pt x="302" y="215"/>
                    </a:lnTo>
                    <a:lnTo>
                      <a:pt x="305" y="212"/>
                    </a:lnTo>
                    <a:lnTo>
                      <a:pt x="306" y="207"/>
                    </a:lnTo>
                    <a:lnTo>
                      <a:pt x="306" y="207"/>
                    </a:lnTo>
                    <a:lnTo>
                      <a:pt x="305" y="203"/>
                    </a:lnTo>
                    <a:lnTo>
                      <a:pt x="302" y="199"/>
                    </a:lnTo>
                    <a:lnTo>
                      <a:pt x="299" y="196"/>
                    </a:lnTo>
                    <a:lnTo>
                      <a:pt x="294" y="196"/>
                    </a:lnTo>
                    <a:lnTo>
                      <a:pt x="62" y="196"/>
                    </a:lnTo>
                    <a:lnTo>
                      <a:pt x="62" y="180"/>
                    </a:lnTo>
                    <a:lnTo>
                      <a:pt x="246" y="180"/>
                    </a:lnTo>
                    <a:lnTo>
                      <a:pt x="246" y="180"/>
                    </a:lnTo>
                    <a:lnTo>
                      <a:pt x="250" y="179"/>
                    </a:lnTo>
                    <a:lnTo>
                      <a:pt x="252" y="178"/>
                    </a:lnTo>
                    <a:lnTo>
                      <a:pt x="255" y="175"/>
                    </a:lnTo>
                    <a:lnTo>
                      <a:pt x="256" y="171"/>
                    </a:lnTo>
                    <a:lnTo>
                      <a:pt x="286" y="54"/>
                    </a:lnTo>
                    <a:lnTo>
                      <a:pt x="286" y="54"/>
                    </a:lnTo>
                    <a:lnTo>
                      <a:pt x="286" y="50"/>
                    </a:lnTo>
                    <a:lnTo>
                      <a:pt x="286" y="47"/>
                    </a:lnTo>
                    <a:lnTo>
                      <a:pt x="285" y="45"/>
                    </a:lnTo>
                    <a:lnTo>
                      <a:pt x="285" y="45"/>
                    </a:lnTo>
                    <a:lnTo>
                      <a:pt x="282" y="42"/>
                    </a:lnTo>
                    <a:lnTo>
                      <a:pt x="279" y="40"/>
                    </a:lnTo>
                    <a:lnTo>
                      <a:pt x="275" y="40"/>
                    </a:lnTo>
                    <a:lnTo>
                      <a:pt x="62" y="40"/>
                    </a:lnTo>
                    <a:lnTo>
                      <a:pt x="62" y="12"/>
                    </a:lnTo>
                    <a:lnTo>
                      <a:pt x="62" y="12"/>
                    </a:lnTo>
                    <a:lnTo>
                      <a:pt x="60" y="8"/>
                    </a:lnTo>
                    <a:lnTo>
                      <a:pt x="59" y="4"/>
                    </a:lnTo>
                    <a:lnTo>
                      <a:pt x="55" y="2"/>
                    </a:lnTo>
                    <a:lnTo>
                      <a:pt x="49" y="0"/>
                    </a:lnTo>
                    <a:lnTo>
                      <a:pt x="11" y="0"/>
                    </a:lnTo>
                    <a:lnTo>
                      <a:pt x="11" y="0"/>
                    </a:lnTo>
                    <a:lnTo>
                      <a:pt x="6" y="2"/>
                    </a:lnTo>
                    <a:lnTo>
                      <a:pt x="2" y="4"/>
                    </a:lnTo>
                    <a:lnTo>
                      <a:pt x="1" y="8"/>
                    </a:lnTo>
                    <a:lnTo>
                      <a:pt x="0" y="12"/>
                    </a:lnTo>
                    <a:lnTo>
                      <a:pt x="0" y="12"/>
                    </a:lnTo>
                    <a:lnTo>
                      <a:pt x="1" y="16"/>
                    </a:lnTo>
                    <a:lnTo>
                      <a:pt x="2" y="20"/>
                    </a:lnTo>
                    <a:lnTo>
                      <a:pt x="6" y="23"/>
                    </a:lnTo>
                    <a:lnTo>
                      <a:pt x="11" y="24"/>
                    </a:lnTo>
                    <a:lnTo>
                      <a:pt x="39" y="24"/>
                    </a:lnTo>
                    <a:lnTo>
                      <a:pt x="39" y="2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3" name="Freeform 320">
                <a:extLst>
                  <a:ext uri="{FF2B5EF4-FFF2-40B4-BE49-F238E27FC236}">
                    <a16:creationId xmlns:a16="http://schemas.microsoft.com/office/drawing/2014/main" id="{3D6B4FA5-3258-4C21-AEDA-956C73C7C897}"/>
                  </a:ext>
                </a:extLst>
              </p:cNvPr>
              <p:cNvSpPr>
                <a:spLocks/>
              </p:cNvSpPr>
              <p:nvPr/>
            </p:nvSpPr>
            <p:spPr bwMode="auto">
              <a:xfrm>
                <a:off x="4227513" y="6194425"/>
                <a:ext cx="57150" cy="57150"/>
              </a:xfrm>
              <a:custGeom>
                <a:avLst/>
                <a:gdLst>
                  <a:gd name="T0" fmla="*/ 37 w 73"/>
                  <a:gd name="T1" fmla="*/ 0 h 71"/>
                  <a:gd name="T2" fmla="*/ 37 w 73"/>
                  <a:gd name="T3" fmla="*/ 0 h 71"/>
                  <a:gd name="T4" fmla="*/ 30 w 73"/>
                  <a:gd name="T5" fmla="*/ 0 h 71"/>
                  <a:gd name="T6" fmla="*/ 23 w 73"/>
                  <a:gd name="T7" fmla="*/ 3 h 71"/>
                  <a:gd name="T8" fmla="*/ 16 w 73"/>
                  <a:gd name="T9" fmla="*/ 7 h 71"/>
                  <a:gd name="T10" fmla="*/ 11 w 73"/>
                  <a:gd name="T11" fmla="*/ 11 h 71"/>
                  <a:gd name="T12" fmla="*/ 7 w 73"/>
                  <a:gd name="T13" fmla="*/ 16 h 71"/>
                  <a:gd name="T14" fmla="*/ 3 w 73"/>
                  <a:gd name="T15" fmla="*/ 22 h 71"/>
                  <a:gd name="T16" fmla="*/ 2 w 73"/>
                  <a:gd name="T17" fmla="*/ 28 h 71"/>
                  <a:gd name="T18" fmla="*/ 0 w 73"/>
                  <a:gd name="T19" fmla="*/ 37 h 71"/>
                  <a:gd name="T20" fmla="*/ 0 w 73"/>
                  <a:gd name="T21" fmla="*/ 37 h 71"/>
                  <a:gd name="T22" fmla="*/ 2 w 73"/>
                  <a:gd name="T23" fmla="*/ 43 h 71"/>
                  <a:gd name="T24" fmla="*/ 3 w 73"/>
                  <a:gd name="T25" fmla="*/ 50 h 71"/>
                  <a:gd name="T26" fmla="*/ 7 w 73"/>
                  <a:gd name="T27" fmla="*/ 57 h 71"/>
                  <a:gd name="T28" fmla="*/ 11 w 73"/>
                  <a:gd name="T29" fmla="*/ 62 h 71"/>
                  <a:gd name="T30" fmla="*/ 16 w 73"/>
                  <a:gd name="T31" fmla="*/ 66 h 71"/>
                  <a:gd name="T32" fmla="*/ 23 w 73"/>
                  <a:gd name="T33" fmla="*/ 69 h 71"/>
                  <a:gd name="T34" fmla="*/ 30 w 73"/>
                  <a:gd name="T35" fmla="*/ 71 h 71"/>
                  <a:gd name="T36" fmla="*/ 37 w 73"/>
                  <a:gd name="T37" fmla="*/ 71 h 71"/>
                  <a:gd name="T38" fmla="*/ 37 w 73"/>
                  <a:gd name="T39" fmla="*/ 71 h 71"/>
                  <a:gd name="T40" fmla="*/ 43 w 73"/>
                  <a:gd name="T41" fmla="*/ 71 h 71"/>
                  <a:gd name="T42" fmla="*/ 50 w 73"/>
                  <a:gd name="T43" fmla="*/ 69 h 71"/>
                  <a:gd name="T44" fmla="*/ 57 w 73"/>
                  <a:gd name="T45" fmla="*/ 66 h 71"/>
                  <a:gd name="T46" fmla="*/ 62 w 73"/>
                  <a:gd name="T47" fmla="*/ 62 h 71"/>
                  <a:gd name="T48" fmla="*/ 66 w 73"/>
                  <a:gd name="T49" fmla="*/ 57 h 71"/>
                  <a:gd name="T50" fmla="*/ 70 w 73"/>
                  <a:gd name="T51" fmla="*/ 50 h 71"/>
                  <a:gd name="T52" fmla="*/ 72 w 73"/>
                  <a:gd name="T53" fmla="*/ 43 h 71"/>
                  <a:gd name="T54" fmla="*/ 73 w 73"/>
                  <a:gd name="T55" fmla="*/ 37 h 71"/>
                  <a:gd name="T56" fmla="*/ 73 w 73"/>
                  <a:gd name="T57" fmla="*/ 37 h 71"/>
                  <a:gd name="T58" fmla="*/ 72 w 73"/>
                  <a:gd name="T59" fmla="*/ 28 h 71"/>
                  <a:gd name="T60" fmla="*/ 70 w 73"/>
                  <a:gd name="T61" fmla="*/ 22 h 71"/>
                  <a:gd name="T62" fmla="*/ 66 w 73"/>
                  <a:gd name="T63" fmla="*/ 16 h 71"/>
                  <a:gd name="T64" fmla="*/ 62 w 73"/>
                  <a:gd name="T65" fmla="*/ 11 h 71"/>
                  <a:gd name="T66" fmla="*/ 57 w 73"/>
                  <a:gd name="T67" fmla="*/ 7 h 71"/>
                  <a:gd name="T68" fmla="*/ 50 w 73"/>
                  <a:gd name="T69" fmla="*/ 3 h 71"/>
                  <a:gd name="T70" fmla="*/ 43 w 73"/>
                  <a:gd name="T71" fmla="*/ 0 h 71"/>
                  <a:gd name="T72" fmla="*/ 37 w 73"/>
                  <a:gd name="T73" fmla="*/ 0 h 71"/>
                  <a:gd name="T74" fmla="*/ 37 w 73"/>
                  <a:gd name="T7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71">
                    <a:moveTo>
                      <a:pt x="37" y="0"/>
                    </a:moveTo>
                    <a:lnTo>
                      <a:pt x="37" y="0"/>
                    </a:lnTo>
                    <a:lnTo>
                      <a:pt x="30" y="0"/>
                    </a:lnTo>
                    <a:lnTo>
                      <a:pt x="23" y="3"/>
                    </a:lnTo>
                    <a:lnTo>
                      <a:pt x="16" y="7"/>
                    </a:lnTo>
                    <a:lnTo>
                      <a:pt x="11" y="11"/>
                    </a:lnTo>
                    <a:lnTo>
                      <a:pt x="7" y="16"/>
                    </a:lnTo>
                    <a:lnTo>
                      <a:pt x="3" y="22"/>
                    </a:lnTo>
                    <a:lnTo>
                      <a:pt x="2" y="28"/>
                    </a:lnTo>
                    <a:lnTo>
                      <a:pt x="0" y="37"/>
                    </a:lnTo>
                    <a:lnTo>
                      <a:pt x="0" y="37"/>
                    </a:lnTo>
                    <a:lnTo>
                      <a:pt x="2" y="43"/>
                    </a:lnTo>
                    <a:lnTo>
                      <a:pt x="3" y="50"/>
                    </a:lnTo>
                    <a:lnTo>
                      <a:pt x="7" y="57"/>
                    </a:lnTo>
                    <a:lnTo>
                      <a:pt x="11" y="62"/>
                    </a:lnTo>
                    <a:lnTo>
                      <a:pt x="16" y="66"/>
                    </a:lnTo>
                    <a:lnTo>
                      <a:pt x="23" y="69"/>
                    </a:lnTo>
                    <a:lnTo>
                      <a:pt x="30" y="71"/>
                    </a:lnTo>
                    <a:lnTo>
                      <a:pt x="37" y="71"/>
                    </a:lnTo>
                    <a:lnTo>
                      <a:pt x="37" y="71"/>
                    </a:lnTo>
                    <a:lnTo>
                      <a:pt x="43" y="71"/>
                    </a:lnTo>
                    <a:lnTo>
                      <a:pt x="50" y="69"/>
                    </a:lnTo>
                    <a:lnTo>
                      <a:pt x="57" y="66"/>
                    </a:lnTo>
                    <a:lnTo>
                      <a:pt x="62" y="62"/>
                    </a:lnTo>
                    <a:lnTo>
                      <a:pt x="66" y="57"/>
                    </a:lnTo>
                    <a:lnTo>
                      <a:pt x="70" y="50"/>
                    </a:lnTo>
                    <a:lnTo>
                      <a:pt x="72" y="43"/>
                    </a:lnTo>
                    <a:lnTo>
                      <a:pt x="73" y="37"/>
                    </a:lnTo>
                    <a:lnTo>
                      <a:pt x="73" y="37"/>
                    </a:lnTo>
                    <a:lnTo>
                      <a:pt x="72" y="28"/>
                    </a:lnTo>
                    <a:lnTo>
                      <a:pt x="70" y="22"/>
                    </a:lnTo>
                    <a:lnTo>
                      <a:pt x="66" y="16"/>
                    </a:lnTo>
                    <a:lnTo>
                      <a:pt x="62" y="11"/>
                    </a:lnTo>
                    <a:lnTo>
                      <a:pt x="57" y="7"/>
                    </a:lnTo>
                    <a:lnTo>
                      <a:pt x="50" y="3"/>
                    </a:lnTo>
                    <a:lnTo>
                      <a:pt x="43" y="0"/>
                    </a:lnTo>
                    <a:lnTo>
                      <a:pt x="37" y="0"/>
                    </a:lnTo>
                    <a:lnTo>
                      <a:pt x="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4" name="Freeform 321">
                <a:extLst>
                  <a:ext uri="{FF2B5EF4-FFF2-40B4-BE49-F238E27FC236}">
                    <a16:creationId xmlns:a16="http://schemas.microsoft.com/office/drawing/2014/main" id="{C82715D5-3749-4769-B255-C00C1BA997B4}"/>
                  </a:ext>
                </a:extLst>
              </p:cNvPr>
              <p:cNvSpPr>
                <a:spLocks/>
              </p:cNvSpPr>
              <p:nvPr/>
            </p:nvSpPr>
            <p:spPr bwMode="auto">
              <a:xfrm>
                <a:off x="4389438" y="6194425"/>
                <a:ext cx="57150" cy="57150"/>
              </a:xfrm>
              <a:custGeom>
                <a:avLst/>
                <a:gdLst>
                  <a:gd name="T0" fmla="*/ 36 w 71"/>
                  <a:gd name="T1" fmla="*/ 0 h 71"/>
                  <a:gd name="T2" fmla="*/ 36 w 71"/>
                  <a:gd name="T3" fmla="*/ 0 h 71"/>
                  <a:gd name="T4" fmla="*/ 28 w 71"/>
                  <a:gd name="T5" fmla="*/ 0 h 71"/>
                  <a:gd name="T6" fmla="*/ 21 w 71"/>
                  <a:gd name="T7" fmla="*/ 3 h 71"/>
                  <a:gd name="T8" fmla="*/ 16 w 71"/>
                  <a:gd name="T9" fmla="*/ 7 h 71"/>
                  <a:gd name="T10" fmla="*/ 11 w 71"/>
                  <a:gd name="T11" fmla="*/ 11 h 71"/>
                  <a:gd name="T12" fmla="*/ 5 w 71"/>
                  <a:gd name="T13" fmla="*/ 16 h 71"/>
                  <a:gd name="T14" fmla="*/ 3 w 71"/>
                  <a:gd name="T15" fmla="*/ 22 h 71"/>
                  <a:gd name="T16" fmla="*/ 0 w 71"/>
                  <a:gd name="T17" fmla="*/ 28 h 71"/>
                  <a:gd name="T18" fmla="*/ 0 w 71"/>
                  <a:gd name="T19" fmla="*/ 37 h 71"/>
                  <a:gd name="T20" fmla="*/ 0 w 71"/>
                  <a:gd name="T21" fmla="*/ 37 h 71"/>
                  <a:gd name="T22" fmla="*/ 0 w 71"/>
                  <a:gd name="T23" fmla="*/ 43 h 71"/>
                  <a:gd name="T24" fmla="*/ 3 w 71"/>
                  <a:gd name="T25" fmla="*/ 50 h 71"/>
                  <a:gd name="T26" fmla="*/ 5 w 71"/>
                  <a:gd name="T27" fmla="*/ 57 h 71"/>
                  <a:gd name="T28" fmla="*/ 11 w 71"/>
                  <a:gd name="T29" fmla="*/ 62 h 71"/>
                  <a:gd name="T30" fmla="*/ 16 w 71"/>
                  <a:gd name="T31" fmla="*/ 66 h 71"/>
                  <a:gd name="T32" fmla="*/ 21 w 71"/>
                  <a:gd name="T33" fmla="*/ 69 h 71"/>
                  <a:gd name="T34" fmla="*/ 28 w 71"/>
                  <a:gd name="T35" fmla="*/ 71 h 71"/>
                  <a:gd name="T36" fmla="*/ 36 w 71"/>
                  <a:gd name="T37" fmla="*/ 71 h 71"/>
                  <a:gd name="T38" fmla="*/ 36 w 71"/>
                  <a:gd name="T39" fmla="*/ 71 h 71"/>
                  <a:gd name="T40" fmla="*/ 43 w 71"/>
                  <a:gd name="T41" fmla="*/ 71 h 71"/>
                  <a:gd name="T42" fmla="*/ 50 w 71"/>
                  <a:gd name="T43" fmla="*/ 69 h 71"/>
                  <a:gd name="T44" fmla="*/ 56 w 71"/>
                  <a:gd name="T45" fmla="*/ 66 h 71"/>
                  <a:gd name="T46" fmla="*/ 60 w 71"/>
                  <a:gd name="T47" fmla="*/ 62 h 71"/>
                  <a:gd name="T48" fmla="*/ 66 w 71"/>
                  <a:gd name="T49" fmla="*/ 57 h 71"/>
                  <a:gd name="T50" fmla="*/ 68 w 71"/>
                  <a:gd name="T51" fmla="*/ 50 h 71"/>
                  <a:gd name="T52" fmla="*/ 71 w 71"/>
                  <a:gd name="T53" fmla="*/ 43 h 71"/>
                  <a:gd name="T54" fmla="*/ 71 w 71"/>
                  <a:gd name="T55" fmla="*/ 37 h 71"/>
                  <a:gd name="T56" fmla="*/ 71 w 71"/>
                  <a:gd name="T57" fmla="*/ 37 h 71"/>
                  <a:gd name="T58" fmla="*/ 71 w 71"/>
                  <a:gd name="T59" fmla="*/ 28 h 71"/>
                  <a:gd name="T60" fmla="*/ 68 w 71"/>
                  <a:gd name="T61" fmla="*/ 22 h 71"/>
                  <a:gd name="T62" fmla="*/ 66 w 71"/>
                  <a:gd name="T63" fmla="*/ 16 h 71"/>
                  <a:gd name="T64" fmla="*/ 60 w 71"/>
                  <a:gd name="T65" fmla="*/ 11 h 71"/>
                  <a:gd name="T66" fmla="*/ 56 w 71"/>
                  <a:gd name="T67" fmla="*/ 7 h 71"/>
                  <a:gd name="T68" fmla="*/ 50 w 71"/>
                  <a:gd name="T69" fmla="*/ 3 h 71"/>
                  <a:gd name="T70" fmla="*/ 43 w 71"/>
                  <a:gd name="T71" fmla="*/ 0 h 71"/>
                  <a:gd name="T72" fmla="*/ 36 w 71"/>
                  <a:gd name="T73" fmla="*/ 0 h 71"/>
                  <a:gd name="T74" fmla="*/ 36 w 71"/>
                  <a:gd name="T7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71">
                    <a:moveTo>
                      <a:pt x="36" y="0"/>
                    </a:moveTo>
                    <a:lnTo>
                      <a:pt x="36" y="0"/>
                    </a:lnTo>
                    <a:lnTo>
                      <a:pt x="28" y="0"/>
                    </a:lnTo>
                    <a:lnTo>
                      <a:pt x="21" y="3"/>
                    </a:lnTo>
                    <a:lnTo>
                      <a:pt x="16" y="7"/>
                    </a:lnTo>
                    <a:lnTo>
                      <a:pt x="11" y="11"/>
                    </a:lnTo>
                    <a:lnTo>
                      <a:pt x="5" y="16"/>
                    </a:lnTo>
                    <a:lnTo>
                      <a:pt x="3" y="22"/>
                    </a:lnTo>
                    <a:lnTo>
                      <a:pt x="0" y="28"/>
                    </a:lnTo>
                    <a:lnTo>
                      <a:pt x="0" y="37"/>
                    </a:lnTo>
                    <a:lnTo>
                      <a:pt x="0" y="37"/>
                    </a:lnTo>
                    <a:lnTo>
                      <a:pt x="0" y="43"/>
                    </a:lnTo>
                    <a:lnTo>
                      <a:pt x="3" y="50"/>
                    </a:lnTo>
                    <a:lnTo>
                      <a:pt x="5" y="57"/>
                    </a:lnTo>
                    <a:lnTo>
                      <a:pt x="11" y="62"/>
                    </a:lnTo>
                    <a:lnTo>
                      <a:pt x="16" y="66"/>
                    </a:lnTo>
                    <a:lnTo>
                      <a:pt x="21" y="69"/>
                    </a:lnTo>
                    <a:lnTo>
                      <a:pt x="28" y="71"/>
                    </a:lnTo>
                    <a:lnTo>
                      <a:pt x="36" y="71"/>
                    </a:lnTo>
                    <a:lnTo>
                      <a:pt x="36" y="71"/>
                    </a:lnTo>
                    <a:lnTo>
                      <a:pt x="43" y="71"/>
                    </a:lnTo>
                    <a:lnTo>
                      <a:pt x="50" y="69"/>
                    </a:lnTo>
                    <a:lnTo>
                      <a:pt x="56" y="66"/>
                    </a:lnTo>
                    <a:lnTo>
                      <a:pt x="60" y="62"/>
                    </a:lnTo>
                    <a:lnTo>
                      <a:pt x="66" y="57"/>
                    </a:lnTo>
                    <a:lnTo>
                      <a:pt x="68" y="50"/>
                    </a:lnTo>
                    <a:lnTo>
                      <a:pt x="71" y="43"/>
                    </a:lnTo>
                    <a:lnTo>
                      <a:pt x="71" y="37"/>
                    </a:lnTo>
                    <a:lnTo>
                      <a:pt x="71" y="37"/>
                    </a:lnTo>
                    <a:lnTo>
                      <a:pt x="71" y="28"/>
                    </a:lnTo>
                    <a:lnTo>
                      <a:pt x="68" y="22"/>
                    </a:lnTo>
                    <a:lnTo>
                      <a:pt x="66" y="16"/>
                    </a:lnTo>
                    <a:lnTo>
                      <a:pt x="60" y="11"/>
                    </a:lnTo>
                    <a:lnTo>
                      <a:pt x="56" y="7"/>
                    </a:lnTo>
                    <a:lnTo>
                      <a:pt x="50" y="3"/>
                    </a:lnTo>
                    <a:lnTo>
                      <a:pt x="43" y="0"/>
                    </a:lnTo>
                    <a:lnTo>
                      <a:pt x="36" y="0"/>
                    </a:lnTo>
                    <a:lnTo>
                      <a:pt x="3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grpSp>
        <p:sp>
          <p:nvSpPr>
            <p:cNvPr id="31" name="TextBox 30">
              <a:extLst>
                <a:ext uri="{FF2B5EF4-FFF2-40B4-BE49-F238E27FC236}">
                  <a16:creationId xmlns:a16="http://schemas.microsoft.com/office/drawing/2014/main" id="{9C7B76AE-991D-46BE-8059-2749C81B3F58}"/>
                </a:ext>
              </a:extLst>
            </p:cNvPr>
            <p:cNvSpPr txBox="1"/>
            <p:nvPr/>
          </p:nvSpPr>
          <p:spPr>
            <a:xfrm>
              <a:off x="4274179" y="6197669"/>
              <a:ext cx="2834640" cy="246221"/>
            </a:xfrm>
            <a:prstGeom prst="rect">
              <a:avLst/>
            </a:prstGeom>
            <a:solidFill>
              <a:schemeClr val="bg1"/>
            </a:solidFill>
          </p:spPr>
          <p:txBody>
            <a:bodyPr wrap="square" lIns="0" tIns="0" rIns="0" bIns="0" rtlCol="0">
              <a:spAutoFit/>
            </a:bodyPr>
            <a:lstStyle/>
            <a:p>
              <a:pPr marL="0" marR="0" lvl="0" indent="0" algn="ctr" defTabSz="1217613" rtl="0" eaLnBrk="0" fontAlgn="base" latinLnBrk="0" hangingPunct="0">
                <a:lnSpc>
                  <a:spcPct val="100000"/>
                </a:lnSpc>
                <a:spcBef>
                  <a:spcPts val="600"/>
                </a:spcBef>
                <a:spcAft>
                  <a:spcPct val="0"/>
                </a:spcAft>
                <a:buClrTx/>
                <a:buSzPct val="100000"/>
                <a:buFontTx/>
                <a:buNone/>
                <a:tabLst/>
                <a:defRPr/>
              </a:pPr>
              <a:r>
                <a:rPr kumimoji="0" lang="en-US" sz="800" b="1" i="0" u="none" strike="noStrike" kern="1200" cap="none" spc="300" normalizeH="0" baseline="0" noProof="0" dirty="0">
                  <a:ln>
                    <a:noFill/>
                  </a:ln>
                  <a:solidFill>
                    <a:srgbClr val="313131"/>
                  </a:solidFill>
                  <a:effectLst/>
                  <a:uLnTx/>
                  <a:uFillTx/>
                  <a:latin typeface="Verdana" panose="020B0604030504040204" pitchFamily="34" charset="0"/>
                  <a:ea typeface="+mn-ea"/>
                  <a:cs typeface="+mn-cs"/>
                </a:rPr>
                <a:t>CLOSED FEEDBACK LOOP: INSIGHTS AND OPTIMIZATION</a:t>
              </a:r>
            </a:p>
          </p:txBody>
        </p:sp>
        <p:cxnSp>
          <p:nvCxnSpPr>
            <p:cNvPr id="32" name="Connector: Elbow 31">
              <a:extLst>
                <a:ext uri="{FF2B5EF4-FFF2-40B4-BE49-F238E27FC236}">
                  <a16:creationId xmlns:a16="http://schemas.microsoft.com/office/drawing/2014/main" id="{C168C2C1-0AFA-40AB-98E3-D2292DDE0151}"/>
                </a:ext>
              </a:extLst>
            </p:cNvPr>
            <p:cNvCxnSpPr>
              <a:cxnSpLocks/>
            </p:cNvCxnSpPr>
            <p:nvPr/>
          </p:nvCxnSpPr>
          <p:spPr>
            <a:xfrm flipV="1">
              <a:off x="2751938" y="5119418"/>
              <a:ext cx="2067836" cy="547265"/>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B99ED639-9156-48C4-B9DB-B13E101DA52E}"/>
                </a:ext>
              </a:extLst>
            </p:cNvPr>
            <p:cNvGrpSpPr>
              <a:grpSpLocks noChangeAspect="1"/>
            </p:cNvGrpSpPr>
            <p:nvPr/>
          </p:nvGrpSpPr>
          <p:grpSpPr>
            <a:xfrm>
              <a:off x="10685116" y="4727306"/>
              <a:ext cx="522288" cy="520700"/>
              <a:chOff x="6716713" y="1662113"/>
              <a:chExt cx="522288" cy="520700"/>
            </a:xfrm>
          </p:grpSpPr>
          <p:sp>
            <p:nvSpPr>
              <p:cNvPr id="58" name="Freeform 88">
                <a:extLst>
                  <a:ext uri="{FF2B5EF4-FFF2-40B4-BE49-F238E27FC236}">
                    <a16:creationId xmlns:a16="http://schemas.microsoft.com/office/drawing/2014/main" id="{EBCEB8D8-6AD8-4E8C-A5CF-CCD683F04F2C}"/>
                  </a:ext>
                </a:extLst>
              </p:cNvPr>
              <p:cNvSpPr>
                <a:spLocks noEditPoints="1"/>
              </p:cNvSpPr>
              <p:nvPr/>
            </p:nvSpPr>
            <p:spPr bwMode="auto">
              <a:xfrm>
                <a:off x="6716713" y="1662113"/>
                <a:ext cx="522288" cy="520700"/>
              </a:xfrm>
              <a:custGeom>
                <a:avLst/>
                <a:gdLst>
                  <a:gd name="T0" fmla="*/ 312 w 658"/>
                  <a:gd name="T1" fmla="*/ 657 h 657"/>
                  <a:gd name="T2" fmla="*/ 263 w 658"/>
                  <a:gd name="T3" fmla="*/ 651 h 657"/>
                  <a:gd name="T4" fmla="*/ 202 w 658"/>
                  <a:gd name="T5" fmla="*/ 632 h 657"/>
                  <a:gd name="T6" fmla="*/ 120 w 658"/>
                  <a:gd name="T7" fmla="*/ 582 h 657"/>
                  <a:gd name="T8" fmla="*/ 57 w 658"/>
                  <a:gd name="T9" fmla="*/ 512 h 657"/>
                  <a:gd name="T10" fmla="*/ 15 w 658"/>
                  <a:gd name="T11" fmla="*/ 426 h 657"/>
                  <a:gd name="T12" fmla="*/ 4 w 658"/>
                  <a:gd name="T13" fmla="*/ 379 h 657"/>
                  <a:gd name="T14" fmla="*/ 0 w 658"/>
                  <a:gd name="T15" fmla="*/ 328 h 657"/>
                  <a:gd name="T16" fmla="*/ 1 w 658"/>
                  <a:gd name="T17" fmla="*/ 294 h 657"/>
                  <a:gd name="T18" fmla="*/ 11 w 658"/>
                  <a:gd name="T19" fmla="*/ 246 h 657"/>
                  <a:gd name="T20" fmla="*/ 40 w 658"/>
                  <a:gd name="T21" fmla="*/ 172 h 657"/>
                  <a:gd name="T22" fmla="*/ 97 w 658"/>
                  <a:gd name="T23" fmla="*/ 96 h 657"/>
                  <a:gd name="T24" fmla="*/ 172 w 658"/>
                  <a:gd name="T25" fmla="*/ 39 h 657"/>
                  <a:gd name="T26" fmla="*/ 247 w 658"/>
                  <a:gd name="T27" fmla="*/ 10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0 h 657"/>
                  <a:gd name="T42" fmla="*/ 652 w 658"/>
                  <a:gd name="T43" fmla="*/ 262 h 657"/>
                  <a:gd name="T44" fmla="*/ 657 w 658"/>
                  <a:gd name="T45" fmla="*/ 312 h 657"/>
                  <a:gd name="T46" fmla="*/ 657 w 658"/>
                  <a:gd name="T47" fmla="*/ 346 h 657"/>
                  <a:gd name="T48" fmla="*/ 652 w 658"/>
                  <a:gd name="T49" fmla="*/ 395 h 657"/>
                  <a:gd name="T50" fmla="*/ 632 w 658"/>
                  <a:gd name="T51" fmla="*/ 457 h 657"/>
                  <a:gd name="T52" fmla="*/ 583 w 658"/>
                  <a:gd name="T53" fmla="*/ 538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0 h 657"/>
                  <a:gd name="T66" fmla="*/ 167 w 658"/>
                  <a:gd name="T67" fmla="*/ 88 h 657"/>
                  <a:gd name="T68" fmla="*/ 105 w 658"/>
                  <a:gd name="T69" fmla="*/ 144 h 657"/>
                  <a:gd name="T70" fmla="*/ 61 w 658"/>
                  <a:gd name="T71" fmla="*/ 215 h 657"/>
                  <a:gd name="T72" fmla="*/ 39 w 658"/>
                  <a:gd name="T73" fmla="*/ 299 h 657"/>
                  <a:gd name="T74" fmla="*/ 39 w 658"/>
                  <a:gd name="T75" fmla="*/ 359 h 657"/>
                  <a:gd name="T76" fmla="*/ 61 w 658"/>
                  <a:gd name="T77" fmla="*/ 442 h 657"/>
                  <a:gd name="T78" fmla="*/ 105 w 658"/>
                  <a:gd name="T79" fmla="*/ 513 h 657"/>
                  <a:gd name="T80" fmla="*/ 167 w 658"/>
                  <a:gd name="T81" fmla="*/ 570 h 657"/>
                  <a:gd name="T82" fmla="*/ 243 w 658"/>
                  <a:gd name="T83" fmla="*/ 606 h 657"/>
                  <a:gd name="T84" fmla="*/ 329 w 658"/>
                  <a:gd name="T85" fmla="*/ 620 h 657"/>
                  <a:gd name="T86" fmla="*/ 388 w 658"/>
                  <a:gd name="T87" fmla="*/ 614 h 657"/>
                  <a:gd name="T88" fmla="*/ 468 w 658"/>
                  <a:gd name="T89" fmla="*/ 585 h 657"/>
                  <a:gd name="T90" fmla="*/ 535 w 658"/>
                  <a:gd name="T91" fmla="*/ 535 h 657"/>
                  <a:gd name="T92" fmla="*/ 586 w 658"/>
                  <a:gd name="T93" fmla="*/ 468 h 657"/>
                  <a:gd name="T94" fmla="*/ 614 w 658"/>
                  <a:gd name="T95" fmla="*/ 387 h 657"/>
                  <a:gd name="T96" fmla="*/ 621 w 658"/>
                  <a:gd name="T97" fmla="*/ 328 h 657"/>
                  <a:gd name="T98" fmla="*/ 607 w 658"/>
                  <a:gd name="T99" fmla="*/ 242 h 657"/>
                  <a:gd name="T100" fmla="*/ 571 w 658"/>
                  <a:gd name="T101" fmla="*/ 166 h 657"/>
                  <a:gd name="T102" fmla="*/ 515 w 658"/>
                  <a:gd name="T103" fmla="*/ 104 h 657"/>
                  <a:gd name="T104" fmla="*/ 442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2" y="657"/>
                    </a:lnTo>
                    <a:lnTo>
                      <a:pt x="296" y="656"/>
                    </a:lnTo>
                    <a:lnTo>
                      <a:pt x="280" y="653"/>
                    </a:lnTo>
                    <a:lnTo>
                      <a:pt x="263" y="651"/>
                    </a:lnTo>
                    <a:lnTo>
                      <a:pt x="247" y="648"/>
                    </a:lnTo>
                    <a:lnTo>
                      <a:pt x="231" y="642"/>
                    </a:lnTo>
                    <a:lnTo>
                      <a:pt x="202" y="632"/>
                    </a:lnTo>
                    <a:lnTo>
                      <a:pt x="172" y="618"/>
                    </a:lnTo>
                    <a:lnTo>
                      <a:pt x="145" y="601"/>
                    </a:lnTo>
                    <a:lnTo>
                      <a:pt x="120" y="582"/>
                    </a:lnTo>
                    <a:lnTo>
                      <a:pt x="97" y="560"/>
                    </a:lnTo>
                    <a:lnTo>
                      <a:pt x="75" y="538"/>
                    </a:lnTo>
                    <a:lnTo>
                      <a:pt x="57" y="512"/>
                    </a:lnTo>
                    <a:lnTo>
                      <a:pt x="40" y="485"/>
                    </a:lnTo>
                    <a:lnTo>
                      <a:pt x="26" y="457"/>
                    </a:lnTo>
                    <a:lnTo>
                      <a:pt x="15" y="426"/>
                    </a:lnTo>
                    <a:lnTo>
                      <a:pt x="11" y="411"/>
                    </a:lnTo>
                    <a:lnTo>
                      <a:pt x="7" y="395"/>
                    </a:lnTo>
                    <a:lnTo>
                      <a:pt x="4" y="379"/>
                    </a:lnTo>
                    <a:lnTo>
                      <a:pt x="1" y="362"/>
                    </a:lnTo>
                    <a:lnTo>
                      <a:pt x="1" y="346"/>
                    </a:lnTo>
                    <a:lnTo>
                      <a:pt x="0" y="328"/>
                    </a:lnTo>
                    <a:lnTo>
                      <a:pt x="0" y="328"/>
                    </a:lnTo>
                    <a:lnTo>
                      <a:pt x="1" y="312"/>
                    </a:lnTo>
                    <a:lnTo>
                      <a:pt x="1" y="294"/>
                    </a:lnTo>
                    <a:lnTo>
                      <a:pt x="4" y="278"/>
                    </a:lnTo>
                    <a:lnTo>
                      <a:pt x="7" y="262"/>
                    </a:lnTo>
                    <a:lnTo>
                      <a:pt x="11" y="246"/>
                    </a:lnTo>
                    <a:lnTo>
                      <a:pt x="15" y="231"/>
                    </a:lnTo>
                    <a:lnTo>
                      <a:pt x="26" y="200"/>
                    </a:lnTo>
                    <a:lnTo>
                      <a:pt x="40" y="172"/>
                    </a:lnTo>
                    <a:lnTo>
                      <a:pt x="57" y="145"/>
                    </a:lnTo>
                    <a:lnTo>
                      <a:pt x="75" y="120"/>
                    </a:lnTo>
                    <a:lnTo>
                      <a:pt x="97" y="96"/>
                    </a:lnTo>
                    <a:lnTo>
                      <a:pt x="120" y="76"/>
                    </a:lnTo>
                    <a:lnTo>
                      <a:pt x="145" y="57"/>
                    </a:lnTo>
                    <a:lnTo>
                      <a:pt x="172" y="39"/>
                    </a:lnTo>
                    <a:lnTo>
                      <a:pt x="202" y="26"/>
                    </a:lnTo>
                    <a:lnTo>
                      <a:pt x="231" y="15"/>
                    </a:lnTo>
                    <a:lnTo>
                      <a:pt x="247" y="10"/>
                    </a:lnTo>
                    <a:lnTo>
                      <a:pt x="263" y="7"/>
                    </a:lnTo>
                    <a:lnTo>
                      <a:pt x="280" y="4"/>
                    </a:lnTo>
                    <a:lnTo>
                      <a:pt x="296" y="2"/>
                    </a:lnTo>
                    <a:lnTo>
                      <a:pt x="312" y="0"/>
                    </a:lnTo>
                    <a:lnTo>
                      <a:pt x="329" y="0"/>
                    </a:lnTo>
                    <a:lnTo>
                      <a:pt x="329" y="0"/>
                    </a:lnTo>
                    <a:lnTo>
                      <a:pt x="347" y="0"/>
                    </a:lnTo>
                    <a:lnTo>
                      <a:pt x="363" y="2"/>
                    </a:lnTo>
                    <a:lnTo>
                      <a:pt x="379" y="4"/>
                    </a:lnTo>
                    <a:lnTo>
                      <a:pt x="395" y="7"/>
                    </a:lnTo>
                    <a:lnTo>
                      <a:pt x="411" y="10"/>
                    </a:lnTo>
                    <a:lnTo>
                      <a:pt x="427" y="15"/>
                    </a:lnTo>
                    <a:lnTo>
                      <a:pt x="457" y="26"/>
                    </a:lnTo>
                    <a:lnTo>
                      <a:pt x="486" y="39"/>
                    </a:lnTo>
                    <a:lnTo>
                      <a:pt x="513" y="57"/>
                    </a:lnTo>
                    <a:lnTo>
                      <a:pt x="539" y="76"/>
                    </a:lnTo>
                    <a:lnTo>
                      <a:pt x="562" y="96"/>
                    </a:lnTo>
                    <a:lnTo>
                      <a:pt x="583" y="120"/>
                    </a:lnTo>
                    <a:lnTo>
                      <a:pt x="602" y="145"/>
                    </a:lnTo>
                    <a:lnTo>
                      <a:pt x="618" y="172"/>
                    </a:lnTo>
                    <a:lnTo>
                      <a:pt x="632" y="200"/>
                    </a:lnTo>
                    <a:lnTo>
                      <a:pt x="644" y="231"/>
                    </a:lnTo>
                    <a:lnTo>
                      <a:pt x="648" y="246"/>
                    </a:lnTo>
                    <a:lnTo>
                      <a:pt x="652" y="262"/>
                    </a:lnTo>
                    <a:lnTo>
                      <a:pt x="654" y="278"/>
                    </a:lnTo>
                    <a:lnTo>
                      <a:pt x="656" y="294"/>
                    </a:lnTo>
                    <a:lnTo>
                      <a:pt x="657" y="312"/>
                    </a:lnTo>
                    <a:lnTo>
                      <a:pt x="658" y="328"/>
                    </a:lnTo>
                    <a:lnTo>
                      <a:pt x="658" y="328"/>
                    </a:lnTo>
                    <a:lnTo>
                      <a:pt x="657" y="346"/>
                    </a:lnTo>
                    <a:lnTo>
                      <a:pt x="656" y="362"/>
                    </a:lnTo>
                    <a:lnTo>
                      <a:pt x="654" y="379"/>
                    </a:lnTo>
                    <a:lnTo>
                      <a:pt x="652" y="395"/>
                    </a:lnTo>
                    <a:lnTo>
                      <a:pt x="648" y="411"/>
                    </a:lnTo>
                    <a:lnTo>
                      <a:pt x="644" y="426"/>
                    </a:lnTo>
                    <a:lnTo>
                      <a:pt x="632" y="457"/>
                    </a:lnTo>
                    <a:lnTo>
                      <a:pt x="618" y="485"/>
                    </a:lnTo>
                    <a:lnTo>
                      <a:pt x="602" y="512"/>
                    </a:lnTo>
                    <a:lnTo>
                      <a:pt x="583" y="538"/>
                    </a:lnTo>
                    <a:lnTo>
                      <a:pt x="562" y="560"/>
                    </a:lnTo>
                    <a:lnTo>
                      <a:pt x="539" y="582"/>
                    </a:lnTo>
                    <a:lnTo>
                      <a:pt x="513" y="601"/>
                    </a:lnTo>
                    <a:lnTo>
                      <a:pt x="486" y="618"/>
                    </a:lnTo>
                    <a:lnTo>
                      <a:pt x="457" y="632"/>
                    </a:lnTo>
                    <a:lnTo>
                      <a:pt x="427" y="642"/>
                    </a:lnTo>
                    <a:lnTo>
                      <a:pt x="411" y="648"/>
                    </a:lnTo>
                    <a:lnTo>
                      <a:pt x="395" y="651"/>
                    </a:lnTo>
                    <a:lnTo>
                      <a:pt x="379" y="653"/>
                    </a:lnTo>
                    <a:lnTo>
                      <a:pt x="363" y="656"/>
                    </a:lnTo>
                    <a:lnTo>
                      <a:pt x="347" y="657"/>
                    </a:lnTo>
                    <a:lnTo>
                      <a:pt x="329" y="657"/>
                    </a:lnTo>
                    <a:lnTo>
                      <a:pt x="329" y="657"/>
                    </a:lnTo>
                    <a:close/>
                    <a:moveTo>
                      <a:pt x="329" y="38"/>
                    </a:moveTo>
                    <a:lnTo>
                      <a:pt x="329" y="38"/>
                    </a:lnTo>
                    <a:lnTo>
                      <a:pt x="300" y="39"/>
                    </a:lnTo>
                    <a:lnTo>
                      <a:pt x="270" y="43"/>
                    </a:lnTo>
                    <a:lnTo>
                      <a:pt x="243" y="50"/>
                    </a:lnTo>
                    <a:lnTo>
                      <a:pt x="216" y="61"/>
                    </a:lnTo>
                    <a:lnTo>
                      <a:pt x="191" y="73"/>
                    </a:lnTo>
                    <a:lnTo>
                      <a:pt x="167" y="88"/>
                    </a:lnTo>
                    <a:lnTo>
                      <a:pt x="144" y="104"/>
                    </a:lnTo>
                    <a:lnTo>
                      <a:pt x="124" y="123"/>
                    </a:lnTo>
                    <a:lnTo>
                      <a:pt x="105" y="144"/>
                    </a:lnTo>
                    <a:lnTo>
                      <a:pt x="87" y="166"/>
                    </a:lnTo>
                    <a:lnTo>
                      <a:pt x="73" y="190"/>
                    </a:lnTo>
                    <a:lnTo>
                      <a:pt x="61" y="215"/>
                    </a:lnTo>
                    <a:lnTo>
                      <a:pt x="51" y="242"/>
                    </a:lnTo>
                    <a:lnTo>
                      <a:pt x="44" y="270"/>
                    </a:lnTo>
                    <a:lnTo>
                      <a:pt x="39" y="299"/>
                    </a:lnTo>
                    <a:lnTo>
                      <a:pt x="38" y="328"/>
                    </a:lnTo>
                    <a:lnTo>
                      <a:pt x="38" y="328"/>
                    </a:lnTo>
                    <a:lnTo>
                      <a:pt x="39" y="359"/>
                    </a:lnTo>
                    <a:lnTo>
                      <a:pt x="44" y="387"/>
                    </a:lnTo>
                    <a:lnTo>
                      <a:pt x="51" y="415"/>
                    </a:lnTo>
                    <a:lnTo>
                      <a:pt x="61" y="442"/>
                    </a:lnTo>
                    <a:lnTo>
                      <a:pt x="73" y="468"/>
                    </a:lnTo>
                    <a:lnTo>
                      <a:pt x="87" y="492"/>
                    </a:lnTo>
                    <a:lnTo>
                      <a:pt x="105" y="513"/>
                    </a:lnTo>
                    <a:lnTo>
                      <a:pt x="124" y="535"/>
                    </a:lnTo>
                    <a:lnTo>
                      <a:pt x="144" y="554"/>
                    </a:lnTo>
                    <a:lnTo>
                      <a:pt x="167" y="570"/>
                    </a:lnTo>
                    <a:lnTo>
                      <a:pt x="191" y="585"/>
                    </a:lnTo>
                    <a:lnTo>
                      <a:pt x="216" y="597"/>
                    </a:lnTo>
                    <a:lnTo>
                      <a:pt x="243" y="606"/>
                    </a:lnTo>
                    <a:lnTo>
                      <a:pt x="270" y="614"/>
                    </a:lnTo>
                    <a:lnTo>
                      <a:pt x="300" y="618"/>
                    </a:lnTo>
                    <a:lnTo>
                      <a:pt x="329" y="620"/>
                    </a:lnTo>
                    <a:lnTo>
                      <a:pt x="329" y="620"/>
                    </a:lnTo>
                    <a:lnTo>
                      <a:pt x="359" y="618"/>
                    </a:lnTo>
                    <a:lnTo>
                      <a:pt x="388" y="614"/>
                    </a:lnTo>
                    <a:lnTo>
                      <a:pt x="415" y="606"/>
                    </a:lnTo>
                    <a:lnTo>
                      <a:pt x="442" y="597"/>
                    </a:lnTo>
                    <a:lnTo>
                      <a:pt x="468" y="585"/>
                    </a:lnTo>
                    <a:lnTo>
                      <a:pt x="492" y="570"/>
                    </a:lnTo>
                    <a:lnTo>
                      <a:pt x="515" y="554"/>
                    </a:lnTo>
                    <a:lnTo>
                      <a:pt x="535" y="535"/>
                    </a:lnTo>
                    <a:lnTo>
                      <a:pt x="554" y="513"/>
                    </a:lnTo>
                    <a:lnTo>
                      <a:pt x="571" y="492"/>
                    </a:lnTo>
                    <a:lnTo>
                      <a:pt x="586" y="468"/>
                    </a:lnTo>
                    <a:lnTo>
                      <a:pt x="598" y="442"/>
                    </a:lnTo>
                    <a:lnTo>
                      <a:pt x="607" y="415"/>
                    </a:lnTo>
                    <a:lnTo>
                      <a:pt x="614" y="387"/>
                    </a:lnTo>
                    <a:lnTo>
                      <a:pt x="619" y="359"/>
                    </a:lnTo>
                    <a:lnTo>
                      <a:pt x="621" y="328"/>
                    </a:lnTo>
                    <a:lnTo>
                      <a:pt x="621" y="328"/>
                    </a:lnTo>
                    <a:lnTo>
                      <a:pt x="619" y="299"/>
                    </a:lnTo>
                    <a:lnTo>
                      <a:pt x="614" y="270"/>
                    </a:lnTo>
                    <a:lnTo>
                      <a:pt x="607" y="242"/>
                    </a:lnTo>
                    <a:lnTo>
                      <a:pt x="598" y="215"/>
                    </a:lnTo>
                    <a:lnTo>
                      <a:pt x="586" y="190"/>
                    </a:lnTo>
                    <a:lnTo>
                      <a:pt x="571" y="166"/>
                    </a:lnTo>
                    <a:lnTo>
                      <a:pt x="554" y="144"/>
                    </a:lnTo>
                    <a:lnTo>
                      <a:pt x="535" y="123"/>
                    </a:lnTo>
                    <a:lnTo>
                      <a:pt x="515" y="104"/>
                    </a:lnTo>
                    <a:lnTo>
                      <a:pt x="492" y="88"/>
                    </a:lnTo>
                    <a:lnTo>
                      <a:pt x="468" y="73"/>
                    </a:lnTo>
                    <a:lnTo>
                      <a:pt x="442" y="61"/>
                    </a:lnTo>
                    <a:lnTo>
                      <a:pt x="415" y="50"/>
                    </a:lnTo>
                    <a:lnTo>
                      <a:pt x="388"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59" name="Freeform 277">
                <a:extLst>
                  <a:ext uri="{FF2B5EF4-FFF2-40B4-BE49-F238E27FC236}">
                    <a16:creationId xmlns:a16="http://schemas.microsoft.com/office/drawing/2014/main" id="{DFC39EE1-DF10-434E-851B-E21EA42CFC7C}"/>
                  </a:ext>
                </a:extLst>
              </p:cNvPr>
              <p:cNvSpPr>
                <a:spLocks noEditPoints="1"/>
              </p:cNvSpPr>
              <p:nvPr/>
            </p:nvSpPr>
            <p:spPr bwMode="auto">
              <a:xfrm>
                <a:off x="6996113" y="1901825"/>
                <a:ext cx="96838" cy="152400"/>
              </a:xfrm>
              <a:custGeom>
                <a:avLst/>
                <a:gdLst>
                  <a:gd name="T0" fmla="*/ 22 w 123"/>
                  <a:gd name="T1" fmla="*/ 0 h 191"/>
                  <a:gd name="T2" fmla="*/ 17 w 123"/>
                  <a:gd name="T3" fmla="*/ 0 h 191"/>
                  <a:gd name="T4" fmla="*/ 7 w 123"/>
                  <a:gd name="T5" fmla="*/ 5 h 191"/>
                  <a:gd name="T6" fmla="*/ 2 w 123"/>
                  <a:gd name="T7" fmla="*/ 16 h 191"/>
                  <a:gd name="T8" fmla="*/ 0 w 123"/>
                  <a:gd name="T9" fmla="*/ 171 h 191"/>
                  <a:gd name="T10" fmla="*/ 2 w 123"/>
                  <a:gd name="T11" fmla="*/ 175 h 191"/>
                  <a:gd name="T12" fmla="*/ 7 w 123"/>
                  <a:gd name="T13" fmla="*/ 185 h 191"/>
                  <a:gd name="T14" fmla="*/ 17 w 123"/>
                  <a:gd name="T15" fmla="*/ 191 h 191"/>
                  <a:gd name="T16" fmla="*/ 103 w 123"/>
                  <a:gd name="T17" fmla="*/ 191 h 191"/>
                  <a:gd name="T18" fmla="*/ 107 w 123"/>
                  <a:gd name="T19" fmla="*/ 191 h 191"/>
                  <a:gd name="T20" fmla="*/ 117 w 123"/>
                  <a:gd name="T21" fmla="*/ 185 h 191"/>
                  <a:gd name="T22" fmla="*/ 123 w 123"/>
                  <a:gd name="T23" fmla="*/ 175 h 191"/>
                  <a:gd name="T24" fmla="*/ 123 w 123"/>
                  <a:gd name="T25" fmla="*/ 20 h 191"/>
                  <a:gd name="T26" fmla="*/ 123 w 123"/>
                  <a:gd name="T27" fmla="*/ 16 h 191"/>
                  <a:gd name="T28" fmla="*/ 117 w 123"/>
                  <a:gd name="T29" fmla="*/ 5 h 191"/>
                  <a:gd name="T30" fmla="*/ 107 w 123"/>
                  <a:gd name="T31" fmla="*/ 0 h 191"/>
                  <a:gd name="T32" fmla="*/ 103 w 123"/>
                  <a:gd name="T33" fmla="*/ 0 h 191"/>
                  <a:gd name="T34" fmla="*/ 62 w 123"/>
                  <a:gd name="T35" fmla="*/ 184 h 191"/>
                  <a:gd name="T36" fmla="*/ 56 w 123"/>
                  <a:gd name="T37" fmla="*/ 180 h 191"/>
                  <a:gd name="T38" fmla="*/ 51 w 123"/>
                  <a:gd name="T39" fmla="*/ 173 h 191"/>
                  <a:gd name="T40" fmla="*/ 53 w 123"/>
                  <a:gd name="T41" fmla="*/ 169 h 191"/>
                  <a:gd name="T42" fmla="*/ 58 w 123"/>
                  <a:gd name="T43" fmla="*/ 164 h 191"/>
                  <a:gd name="T44" fmla="*/ 62 w 123"/>
                  <a:gd name="T45" fmla="*/ 164 h 191"/>
                  <a:gd name="T46" fmla="*/ 69 w 123"/>
                  <a:gd name="T47" fmla="*/ 166 h 191"/>
                  <a:gd name="T48" fmla="*/ 72 w 123"/>
                  <a:gd name="T49" fmla="*/ 173 h 191"/>
                  <a:gd name="T50" fmla="*/ 72 w 123"/>
                  <a:gd name="T51" fmla="*/ 177 h 191"/>
                  <a:gd name="T52" fmla="*/ 66 w 123"/>
                  <a:gd name="T53" fmla="*/ 183 h 191"/>
                  <a:gd name="T54" fmla="*/ 62 w 123"/>
                  <a:gd name="T55" fmla="*/ 184 h 191"/>
                  <a:gd name="T56" fmla="*/ 115 w 123"/>
                  <a:gd name="T57" fmla="*/ 152 h 191"/>
                  <a:gd name="T58" fmla="*/ 109 w 123"/>
                  <a:gd name="T59" fmla="*/ 156 h 191"/>
                  <a:gd name="T60" fmla="*/ 14 w 123"/>
                  <a:gd name="T61" fmla="*/ 156 h 191"/>
                  <a:gd name="T62" fmla="*/ 10 w 123"/>
                  <a:gd name="T63" fmla="*/ 153 h 191"/>
                  <a:gd name="T64" fmla="*/ 9 w 123"/>
                  <a:gd name="T65" fmla="*/ 17 h 191"/>
                  <a:gd name="T66" fmla="*/ 10 w 123"/>
                  <a:gd name="T67" fmla="*/ 15 h 191"/>
                  <a:gd name="T68" fmla="*/ 14 w 123"/>
                  <a:gd name="T69" fmla="*/ 12 h 191"/>
                  <a:gd name="T70" fmla="*/ 109 w 123"/>
                  <a:gd name="T71" fmla="*/ 12 h 191"/>
                  <a:gd name="T72" fmla="*/ 115 w 123"/>
                  <a:gd name="T73" fmla="*/ 1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 h="191">
                    <a:moveTo>
                      <a:pt x="103" y="0"/>
                    </a:moveTo>
                    <a:lnTo>
                      <a:pt x="22" y="0"/>
                    </a:lnTo>
                    <a:lnTo>
                      <a:pt x="22" y="0"/>
                    </a:lnTo>
                    <a:lnTo>
                      <a:pt x="17" y="0"/>
                    </a:lnTo>
                    <a:lnTo>
                      <a:pt x="14" y="1"/>
                    </a:lnTo>
                    <a:lnTo>
                      <a:pt x="7" y="5"/>
                    </a:lnTo>
                    <a:lnTo>
                      <a:pt x="3" y="12"/>
                    </a:lnTo>
                    <a:lnTo>
                      <a:pt x="2" y="16"/>
                    </a:lnTo>
                    <a:lnTo>
                      <a:pt x="0" y="20"/>
                    </a:lnTo>
                    <a:lnTo>
                      <a:pt x="0" y="171"/>
                    </a:lnTo>
                    <a:lnTo>
                      <a:pt x="0" y="171"/>
                    </a:lnTo>
                    <a:lnTo>
                      <a:pt x="2" y="175"/>
                    </a:lnTo>
                    <a:lnTo>
                      <a:pt x="3" y="179"/>
                    </a:lnTo>
                    <a:lnTo>
                      <a:pt x="7" y="185"/>
                    </a:lnTo>
                    <a:lnTo>
                      <a:pt x="14" y="189"/>
                    </a:lnTo>
                    <a:lnTo>
                      <a:pt x="17" y="191"/>
                    </a:lnTo>
                    <a:lnTo>
                      <a:pt x="22" y="191"/>
                    </a:lnTo>
                    <a:lnTo>
                      <a:pt x="103" y="191"/>
                    </a:lnTo>
                    <a:lnTo>
                      <a:pt x="103" y="191"/>
                    </a:lnTo>
                    <a:lnTo>
                      <a:pt x="107" y="191"/>
                    </a:lnTo>
                    <a:lnTo>
                      <a:pt x="111" y="189"/>
                    </a:lnTo>
                    <a:lnTo>
                      <a:pt x="117" y="185"/>
                    </a:lnTo>
                    <a:lnTo>
                      <a:pt x="121" y="179"/>
                    </a:lnTo>
                    <a:lnTo>
                      <a:pt x="123" y="175"/>
                    </a:lnTo>
                    <a:lnTo>
                      <a:pt x="123" y="171"/>
                    </a:lnTo>
                    <a:lnTo>
                      <a:pt x="123" y="20"/>
                    </a:lnTo>
                    <a:lnTo>
                      <a:pt x="123" y="20"/>
                    </a:lnTo>
                    <a:lnTo>
                      <a:pt x="123" y="16"/>
                    </a:lnTo>
                    <a:lnTo>
                      <a:pt x="121" y="12"/>
                    </a:lnTo>
                    <a:lnTo>
                      <a:pt x="117" y="5"/>
                    </a:lnTo>
                    <a:lnTo>
                      <a:pt x="111" y="1"/>
                    </a:lnTo>
                    <a:lnTo>
                      <a:pt x="107" y="0"/>
                    </a:lnTo>
                    <a:lnTo>
                      <a:pt x="103" y="0"/>
                    </a:lnTo>
                    <a:lnTo>
                      <a:pt x="103" y="0"/>
                    </a:lnTo>
                    <a:close/>
                    <a:moveTo>
                      <a:pt x="62" y="184"/>
                    </a:moveTo>
                    <a:lnTo>
                      <a:pt x="62" y="184"/>
                    </a:lnTo>
                    <a:lnTo>
                      <a:pt x="58" y="183"/>
                    </a:lnTo>
                    <a:lnTo>
                      <a:pt x="56" y="180"/>
                    </a:lnTo>
                    <a:lnTo>
                      <a:pt x="53" y="177"/>
                    </a:lnTo>
                    <a:lnTo>
                      <a:pt x="51" y="173"/>
                    </a:lnTo>
                    <a:lnTo>
                      <a:pt x="51" y="173"/>
                    </a:lnTo>
                    <a:lnTo>
                      <a:pt x="53" y="169"/>
                    </a:lnTo>
                    <a:lnTo>
                      <a:pt x="56" y="166"/>
                    </a:lnTo>
                    <a:lnTo>
                      <a:pt x="58" y="164"/>
                    </a:lnTo>
                    <a:lnTo>
                      <a:pt x="62" y="164"/>
                    </a:lnTo>
                    <a:lnTo>
                      <a:pt x="62" y="164"/>
                    </a:lnTo>
                    <a:lnTo>
                      <a:pt x="66" y="164"/>
                    </a:lnTo>
                    <a:lnTo>
                      <a:pt x="69" y="166"/>
                    </a:lnTo>
                    <a:lnTo>
                      <a:pt x="72" y="169"/>
                    </a:lnTo>
                    <a:lnTo>
                      <a:pt x="72" y="173"/>
                    </a:lnTo>
                    <a:lnTo>
                      <a:pt x="72" y="173"/>
                    </a:lnTo>
                    <a:lnTo>
                      <a:pt x="72" y="177"/>
                    </a:lnTo>
                    <a:lnTo>
                      <a:pt x="69" y="180"/>
                    </a:lnTo>
                    <a:lnTo>
                      <a:pt x="66" y="183"/>
                    </a:lnTo>
                    <a:lnTo>
                      <a:pt x="62" y="184"/>
                    </a:lnTo>
                    <a:lnTo>
                      <a:pt x="62" y="184"/>
                    </a:lnTo>
                    <a:close/>
                    <a:moveTo>
                      <a:pt x="115" y="152"/>
                    </a:moveTo>
                    <a:lnTo>
                      <a:pt x="115" y="152"/>
                    </a:lnTo>
                    <a:lnTo>
                      <a:pt x="113" y="154"/>
                    </a:lnTo>
                    <a:lnTo>
                      <a:pt x="109" y="156"/>
                    </a:lnTo>
                    <a:lnTo>
                      <a:pt x="14" y="156"/>
                    </a:lnTo>
                    <a:lnTo>
                      <a:pt x="14" y="156"/>
                    </a:lnTo>
                    <a:lnTo>
                      <a:pt x="11" y="154"/>
                    </a:lnTo>
                    <a:lnTo>
                      <a:pt x="10" y="153"/>
                    </a:lnTo>
                    <a:lnTo>
                      <a:pt x="9" y="152"/>
                    </a:lnTo>
                    <a:lnTo>
                      <a:pt x="9" y="17"/>
                    </a:lnTo>
                    <a:lnTo>
                      <a:pt x="9" y="17"/>
                    </a:lnTo>
                    <a:lnTo>
                      <a:pt x="10" y="15"/>
                    </a:lnTo>
                    <a:lnTo>
                      <a:pt x="11" y="13"/>
                    </a:lnTo>
                    <a:lnTo>
                      <a:pt x="14" y="12"/>
                    </a:lnTo>
                    <a:lnTo>
                      <a:pt x="109" y="12"/>
                    </a:lnTo>
                    <a:lnTo>
                      <a:pt x="109" y="12"/>
                    </a:lnTo>
                    <a:lnTo>
                      <a:pt x="113" y="13"/>
                    </a:lnTo>
                    <a:lnTo>
                      <a:pt x="115" y="17"/>
                    </a:lnTo>
                    <a:lnTo>
                      <a:pt x="115" y="1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0" name="Freeform 278">
                <a:extLst>
                  <a:ext uri="{FF2B5EF4-FFF2-40B4-BE49-F238E27FC236}">
                    <a16:creationId xmlns:a16="http://schemas.microsoft.com/office/drawing/2014/main" id="{475BE78D-BABD-42DB-9787-AF82EEA24B4C}"/>
                  </a:ext>
                </a:extLst>
              </p:cNvPr>
              <p:cNvSpPr>
                <a:spLocks noEditPoints="1"/>
              </p:cNvSpPr>
              <p:nvPr/>
            </p:nvSpPr>
            <p:spPr bwMode="auto">
              <a:xfrm>
                <a:off x="6869113" y="1797050"/>
                <a:ext cx="177800" cy="231775"/>
              </a:xfrm>
              <a:custGeom>
                <a:avLst/>
                <a:gdLst>
                  <a:gd name="T0" fmla="*/ 20 w 225"/>
                  <a:gd name="T1" fmla="*/ 25 h 291"/>
                  <a:gd name="T2" fmla="*/ 22 w 225"/>
                  <a:gd name="T3" fmla="*/ 21 h 291"/>
                  <a:gd name="T4" fmla="*/ 200 w 225"/>
                  <a:gd name="T5" fmla="*/ 20 h 291"/>
                  <a:gd name="T6" fmla="*/ 204 w 225"/>
                  <a:gd name="T7" fmla="*/ 21 h 291"/>
                  <a:gd name="T8" fmla="*/ 206 w 225"/>
                  <a:gd name="T9" fmla="*/ 111 h 291"/>
                  <a:gd name="T10" fmla="*/ 225 w 225"/>
                  <a:gd name="T11" fmla="*/ 31 h 291"/>
                  <a:gd name="T12" fmla="*/ 225 w 225"/>
                  <a:gd name="T13" fmla="*/ 24 h 291"/>
                  <a:gd name="T14" fmla="*/ 219 w 225"/>
                  <a:gd name="T15" fmla="*/ 13 h 291"/>
                  <a:gd name="T16" fmla="*/ 211 w 225"/>
                  <a:gd name="T17" fmla="*/ 5 h 291"/>
                  <a:gd name="T18" fmla="*/ 200 w 225"/>
                  <a:gd name="T19" fmla="*/ 1 h 291"/>
                  <a:gd name="T20" fmla="*/ 31 w 225"/>
                  <a:gd name="T21" fmla="*/ 0 h 291"/>
                  <a:gd name="T22" fmla="*/ 26 w 225"/>
                  <a:gd name="T23" fmla="*/ 1 h 291"/>
                  <a:gd name="T24" fmla="*/ 14 w 225"/>
                  <a:gd name="T25" fmla="*/ 5 h 291"/>
                  <a:gd name="T26" fmla="*/ 6 w 225"/>
                  <a:gd name="T27" fmla="*/ 13 h 291"/>
                  <a:gd name="T28" fmla="*/ 2 w 225"/>
                  <a:gd name="T29" fmla="*/ 24 h 291"/>
                  <a:gd name="T30" fmla="*/ 0 w 225"/>
                  <a:gd name="T31" fmla="*/ 262 h 291"/>
                  <a:gd name="T32" fmla="*/ 2 w 225"/>
                  <a:gd name="T33" fmla="*/ 267 h 291"/>
                  <a:gd name="T34" fmla="*/ 6 w 225"/>
                  <a:gd name="T35" fmla="*/ 278 h 291"/>
                  <a:gd name="T36" fmla="*/ 14 w 225"/>
                  <a:gd name="T37" fmla="*/ 286 h 291"/>
                  <a:gd name="T38" fmla="*/ 26 w 225"/>
                  <a:gd name="T39" fmla="*/ 291 h 291"/>
                  <a:gd name="T40" fmla="*/ 144 w 225"/>
                  <a:gd name="T41" fmla="*/ 291 h 291"/>
                  <a:gd name="T42" fmla="*/ 26 w 225"/>
                  <a:gd name="T43" fmla="*/ 231 h 291"/>
                  <a:gd name="T44" fmla="*/ 22 w 225"/>
                  <a:gd name="T45" fmla="*/ 230 h 291"/>
                  <a:gd name="T46" fmla="*/ 20 w 225"/>
                  <a:gd name="T47" fmla="*/ 226 h 291"/>
                  <a:gd name="T48" fmla="*/ 113 w 225"/>
                  <a:gd name="T49" fmla="*/ 246 h 291"/>
                  <a:gd name="T50" fmla="*/ 124 w 225"/>
                  <a:gd name="T51" fmla="*/ 251 h 291"/>
                  <a:gd name="T52" fmla="*/ 128 w 225"/>
                  <a:gd name="T53" fmla="*/ 262 h 291"/>
                  <a:gd name="T54" fmla="*/ 127 w 225"/>
                  <a:gd name="T55" fmla="*/ 267 h 291"/>
                  <a:gd name="T56" fmla="*/ 118 w 225"/>
                  <a:gd name="T57" fmla="*/ 275 h 291"/>
                  <a:gd name="T58" fmla="*/ 113 w 225"/>
                  <a:gd name="T59" fmla="*/ 277 h 291"/>
                  <a:gd name="T60" fmla="*/ 102 w 225"/>
                  <a:gd name="T61" fmla="*/ 271 h 291"/>
                  <a:gd name="T62" fmla="*/ 97 w 225"/>
                  <a:gd name="T63" fmla="*/ 262 h 291"/>
                  <a:gd name="T64" fmla="*/ 98 w 225"/>
                  <a:gd name="T65" fmla="*/ 255 h 291"/>
                  <a:gd name="T66" fmla="*/ 106 w 225"/>
                  <a:gd name="T67" fmla="*/ 247 h 291"/>
                  <a:gd name="T68" fmla="*/ 113 w 225"/>
                  <a:gd name="T69" fmla="*/ 24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5" h="291">
                    <a:moveTo>
                      <a:pt x="20" y="226"/>
                    </a:moveTo>
                    <a:lnTo>
                      <a:pt x="20" y="25"/>
                    </a:lnTo>
                    <a:lnTo>
                      <a:pt x="20" y="25"/>
                    </a:lnTo>
                    <a:lnTo>
                      <a:pt x="22" y="21"/>
                    </a:lnTo>
                    <a:lnTo>
                      <a:pt x="26" y="20"/>
                    </a:lnTo>
                    <a:lnTo>
                      <a:pt x="200" y="20"/>
                    </a:lnTo>
                    <a:lnTo>
                      <a:pt x="200" y="20"/>
                    </a:lnTo>
                    <a:lnTo>
                      <a:pt x="204" y="21"/>
                    </a:lnTo>
                    <a:lnTo>
                      <a:pt x="206" y="25"/>
                    </a:lnTo>
                    <a:lnTo>
                      <a:pt x="206" y="111"/>
                    </a:lnTo>
                    <a:lnTo>
                      <a:pt x="225" y="111"/>
                    </a:lnTo>
                    <a:lnTo>
                      <a:pt x="225" y="31"/>
                    </a:lnTo>
                    <a:lnTo>
                      <a:pt x="225" y="31"/>
                    </a:lnTo>
                    <a:lnTo>
                      <a:pt x="225" y="24"/>
                    </a:lnTo>
                    <a:lnTo>
                      <a:pt x="223" y="19"/>
                    </a:lnTo>
                    <a:lnTo>
                      <a:pt x="219" y="13"/>
                    </a:lnTo>
                    <a:lnTo>
                      <a:pt x="217" y="9"/>
                    </a:lnTo>
                    <a:lnTo>
                      <a:pt x="211" y="5"/>
                    </a:lnTo>
                    <a:lnTo>
                      <a:pt x="206" y="3"/>
                    </a:lnTo>
                    <a:lnTo>
                      <a:pt x="200" y="1"/>
                    </a:lnTo>
                    <a:lnTo>
                      <a:pt x="195" y="0"/>
                    </a:lnTo>
                    <a:lnTo>
                      <a:pt x="31" y="0"/>
                    </a:lnTo>
                    <a:lnTo>
                      <a:pt x="31" y="0"/>
                    </a:lnTo>
                    <a:lnTo>
                      <a:pt x="26" y="1"/>
                    </a:lnTo>
                    <a:lnTo>
                      <a:pt x="19" y="3"/>
                    </a:lnTo>
                    <a:lnTo>
                      <a:pt x="14" y="5"/>
                    </a:lnTo>
                    <a:lnTo>
                      <a:pt x="10" y="9"/>
                    </a:lnTo>
                    <a:lnTo>
                      <a:pt x="6" y="13"/>
                    </a:lnTo>
                    <a:lnTo>
                      <a:pt x="3" y="19"/>
                    </a:lnTo>
                    <a:lnTo>
                      <a:pt x="2" y="24"/>
                    </a:lnTo>
                    <a:lnTo>
                      <a:pt x="0" y="31"/>
                    </a:lnTo>
                    <a:lnTo>
                      <a:pt x="0" y="262"/>
                    </a:lnTo>
                    <a:lnTo>
                      <a:pt x="0" y="262"/>
                    </a:lnTo>
                    <a:lnTo>
                      <a:pt x="2" y="267"/>
                    </a:lnTo>
                    <a:lnTo>
                      <a:pt x="3" y="273"/>
                    </a:lnTo>
                    <a:lnTo>
                      <a:pt x="6" y="278"/>
                    </a:lnTo>
                    <a:lnTo>
                      <a:pt x="10" y="282"/>
                    </a:lnTo>
                    <a:lnTo>
                      <a:pt x="14" y="286"/>
                    </a:lnTo>
                    <a:lnTo>
                      <a:pt x="19" y="289"/>
                    </a:lnTo>
                    <a:lnTo>
                      <a:pt x="26" y="291"/>
                    </a:lnTo>
                    <a:lnTo>
                      <a:pt x="31" y="291"/>
                    </a:lnTo>
                    <a:lnTo>
                      <a:pt x="144" y="291"/>
                    </a:lnTo>
                    <a:lnTo>
                      <a:pt x="144" y="231"/>
                    </a:lnTo>
                    <a:lnTo>
                      <a:pt x="26" y="231"/>
                    </a:lnTo>
                    <a:lnTo>
                      <a:pt x="26" y="231"/>
                    </a:lnTo>
                    <a:lnTo>
                      <a:pt x="22" y="230"/>
                    </a:lnTo>
                    <a:lnTo>
                      <a:pt x="20" y="226"/>
                    </a:lnTo>
                    <a:lnTo>
                      <a:pt x="20" y="226"/>
                    </a:lnTo>
                    <a:close/>
                    <a:moveTo>
                      <a:pt x="113" y="246"/>
                    </a:moveTo>
                    <a:lnTo>
                      <a:pt x="113" y="246"/>
                    </a:lnTo>
                    <a:lnTo>
                      <a:pt x="118" y="247"/>
                    </a:lnTo>
                    <a:lnTo>
                      <a:pt x="124" y="251"/>
                    </a:lnTo>
                    <a:lnTo>
                      <a:pt x="127" y="255"/>
                    </a:lnTo>
                    <a:lnTo>
                      <a:pt x="128" y="262"/>
                    </a:lnTo>
                    <a:lnTo>
                      <a:pt x="128" y="262"/>
                    </a:lnTo>
                    <a:lnTo>
                      <a:pt x="127" y="267"/>
                    </a:lnTo>
                    <a:lnTo>
                      <a:pt x="124" y="271"/>
                    </a:lnTo>
                    <a:lnTo>
                      <a:pt x="118" y="275"/>
                    </a:lnTo>
                    <a:lnTo>
                      <a:pt x="113" y="277"/>
                    </a:lnTo>
                    <a:lnTo>
                      <a:pt x="113" y="277"/>
                    </a:lnTo>
                    <a:lnTo>
                      <a:pt x="106" y="275"/>
                    </a:lnTo>
                    <a:lnTo>
                      <a:pt x="102" y="271"/>
                    </a:lnTo>
                    <a:lnTo>
                      <a:pt x="98" y="267"/>
                    </a:lnTo>
                    <a:lnTo>
                      <a:pt x="97" y="262"/>
                    </a:lnTo>
                    <a:lnTo>
                      <a:pt x="97" y="262"/>
                    </a:lnTo>
                    <a:lnTo>
                      <a:pt x="98" y="255"/>
                    </a:lnTo>
                    <a:lnTo>
                      <a:pt x="102" y="251"/>
                    </a:lnTo>
                    <a:lnTo>
                      <a:pt x="106" y="247"/>
                    </a:lnTo>
                    <a:lnTo>
                      <a:pt x="113" y="246"/>
                    </a:lnTo>
                    <a:lnTo>
                      <a:pt x="113" y="2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grpSp>
        <p:sp>
          <p:nvSpPr>
            <p:cNvPr id="34" name="TextBox 33">
              <a:extLst>
                <a:ext uri="{FF2B5EF4-FFF2-40B4-BE49-F238E27FC236}">
                  <a16:creationId xmlns:a16="http://schemas.microsoft.com/office/drawing/2014/main" id="{13CCD375-0C9F-43DD-965A-56F0859C6E4F}"/>
                </a:ext>
              </a:extLst>
            </p:cNvPr>
            <p:cNvSpPr txBox="1"/>
            <p:nvPr/>
          </p:nvSpPr>
          <p:spPr>
            <a:xfrm>
              <a:off x="9913848" y="5291515"/>
              <a:ext cx="2064824" cy="338554"/>
            </a:xfrm>
            <a:prstGeom prst="rect">
              <a:avLst/>
            </a:prstGeom>
            <a:noFill/>
          </p:spPr>
          <p:txBody>
            <a:bodyPr wrap="square" rtlCol="0">
              <a:spAutoFit/>
            </a:bodyPr>
            <a:lstStyle/>
            <a:p>
              <a:pPr marL="0" marR="0" lvl="0" indent="0" algn="ctr" defTabSz="1217613"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300" normalizeH="0" baseline="0" noProof="0" dirty="0">
                  <a:ln>
                    <a:noFill/>
                  </a:ln>
                  <a:solidFill>
                    <a:srgbClr val="A5A5A5">
                      <a:lumMod val="50000"/>
                    </a:srgbClr>
                  </a:solidFill>
                  <a:effectLst/>
                  <a:uLnTx/>
                  <a:uFillTx/>
                  <a:latin typeface="Verdana"/>
                  <a:ea typeface="+mn-ea"/>
                  <a:cs typeface="+mn-cs"/>
                </a:rPr>
                <a:t>MOBILE APPLICATIONS </a:t>
              </a:r>
            </a:p>
          </p:txBody>
        </p:sp>
        <p:sp>
          <p:nvSpPr>
            <p:cNvPr id="35" name="Rounded Rectangle 21">
              <a:extLst>
                <a:ext uri="{FF2B5EF4-FFF2-40B4-BE49-F238E27FC236}">
                  <a16:creationId xmlns:a16="http://schemas.microsoft.com/office/drawing/2014/main" id="{A2BBE6B2-B9E3-473C-A101-90ABB7414D80}"/>
                </a:ext>
              </a:extLst>
            </p:cNvPr>
            <p:cNvSpPr/>
            <p:nvPr/>
          </p:nvSpPr>
          <p:spPr bwMode="gray">
            <a:xfrm>
              <a:off x="4696807" y="2583898"/>
              <a:ext cx="1844008" cy="264292"/>
            </a:xfrm>
            <a:prstGeom prst="roundRect">
              <a:avLst/>
            </a:prstGeom>
            <a:noFill/>
            <a:ln w="19050" algn="ctr">
              <a:solidFill>
                <a:schemeClr val="bg1"/>
              </a:solidFill>
              <a:miter lim="800000"/>
              <a:headEnd/>
              <a:tailEnd/>
            </a:ln>
          </p:spPr>
          <p:txBody>
            <a:bodyPr wrap="square" lIns="88900" tIns="88900" rIns="88900" bIns="88900" rtlCol="0" anchor="ctr"/>
            <a:lstStyle/>
            <a:p>
              <a:pPr marL="0" marR="0" lvl="0" indent="0" algn="ctr" defTabSz="1217613" rtl="0" eaLnBrk="0" fontAlgn="base" latinLnBrk="0" hangingPunct="0">
                <a:lnSpc>
                  <a:spcPct val="106000"/>
                </a:lnSpc>
                <a:spcBef>
                  <a:spcPct val="0"/>
                </a:spcBef>
                <a:spcAft>
                  <a:spcPct val="0"/>
                </a:spcAft>
                <a:buClrTx/>
                <a:buSzTx/>
                <a:buFont typeface="Wingdings 2" pitchFamily="18" charset="2"/>
                <a:buNone/>
                <a:tabLst/>
                <a:defRPr/>
              </a:pPr>
              <a:r>
                <a:rPr kumimoji="0" lang="en-US" sz="105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Web/Mobile Campaigns</a:t>
              </a:r>
            </a:p>
          </p:txBody>
        </p:sp>
        <p:sp>
          <p:nvSpPr>
            <p:cNvPr id="36" name="Rounded Rectangle 94">
              <a:extLst>
                <a:ext uri="{FF2B5EF4-FFF2-40B4-BE49-F238E27FC236}">
                  <a16:creationId xmlns:a16="http://schemas.microsoft.com/office/drawing/2014/main" id="{08863FFD-411D-4F31-BDAB-764D2B3DB765}"/>
                </a:ext>
              </a:extLst>
            </p:cNvPr>
            <p:cNvSpPr/>
            <p:nvPr/>
          </p:nvSpPr>
          <p:spPr bwMode="gray">
            <a:xfrm>
              <a:off x="4696807" y="2889926"/>
              <a:ext cx="1844008" cy="264292"/>
            </a:xfrm>
            <a:prstGeom prst="roundRect">
              <a:avLst/>
            </a:prstGeom>
            <a:noFill/>
            <a:ln w="19050" algn="ctr">
              <a:solidFill>
                <a:schemeClr val="bg1"/>
              </a:solidFill>
              <a:miter lim="800000"/>
              <a:headEnd/>
              <a:tailEnd/>
            </a:ln>
          </p:spPr>
          <p:txBody>
            <a:bodyPr wrap="square" lIns="88900" tIns="88900" rIns="88900" bIns="88900" rtlCol="0" anchor="ctr"/>
            <a:lstStyle/>
            <a:p>
              <a:pPr marL="0" marR="0" lvl="0" indent="0" algn="ctr" defTabSz="1217613" rtl="0" eaLnBrk="0" fontAlgn="base" latinLnBrk="0" hangingPunct="0">
                <a:lnSpc>
                  <a:spcPct val="106000"/>
                </a:lnSpc>
                <a:spcBef>
                  <a:spcPct val="0"/>
                </a:spcBef>
                <a:spcAft>
                  <a:spcPct val="0"/>
                </a:spcAft>
                <a:buClrTx/>
                <a:buSzTx/>
                <a:buFont typeface="Wingdings 2" pitchFamily="18" charset="2"/>
                <a:buNone/>
                <a:tabLst/>
                <a:defRPr/>
              </a:pPr>
              <a:r>
                <a:rPr kumimoji="0" lang="en-US" sz="105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Realtime Segmentation </a:t>
              </a: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including control | A/B testing)</a:t>
              </a:r>
              <a:endParaRPr kumimoji="0" lang="en-US" sz="4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grpSp>
          <p:nvGrpSpPr>
            <p:cNvPr id="37" name="Group 36">
              <a:extLst>
                <a:ext uri="{FF2B5EF4-FFF2-40B4-BE49-F238E27FC236}">
                  <a16:creationId xmlns:a16="http://schemas.microsoft.com/office/drawing/2014/main" id="{E051F0FE-6599-49EA-BBF7-A6F53BE8B772}"/>
                </a:ext>
              </a:extLst>
            </p:cNvPr>
            <p:cNvGrpSpPr/>
            <p:nvPr/>
          </p:nvGrpSpPr>
          <p:grpSpPr>
            <a:xfrm>
              <a:off x="4819774" y="4249207"/>
              <a:ext cx="1681430" cy="1483874"/>
              <a:chOff x="4862055" y="3665023"/>
              <a:chExt cx="1681430" cy="1483874"/>
            </a:xfrm>
          </p:grpSpPr>
          <p:sp>
            <p:nvSpPr>
              <p:cNvPr id="50" name="Oval 49">
                <a:extLst>
                  <a:ext uri="{FF2B5EF4-FFF2-40B4-BE49-F238E27FC236}">
                    <a16:creationId xmlns:a16="http://schemas.microsoft.com/office/drawing/2014/main" id="{575E3600-0C36-43D0-8EF6-883499B23D75}"/>
                  </a:ext>
                </a:extLst>
              </p:cNvPr>
              <p:cNvSpPr/>
              <p:nvPr/>
            </p:nvSpPr>
            <p:spPr bwMode="gray">
              <a:xfrm>
                <a:off x="4892077" y="3665023"/>
                <a:ext cx="1576583" cy="1483874"/>
              </a:xfrm>
              <a:prstGeom prst="ellipse">
                <a:avLst/>
              </a:prstGeom>
              <a:solidFill>
                <a:srgbClr val="E0F0FA"/>
              </a:solidFill>
              <a:ln w="19050" algn="ctr">
                <a:solidFill>
                  <a:schemeClr val="bg1"/>
                </a:solidFill>
                <a:miter lim="800000"/>
                <a:headEnd/>
                <a:tailEnd/>
              </a:ln>
            </p:spPr>
            <p:txBody>
              <a:bodyPr wrap="square" lIns="88900" tIns="88900" rIns="88900" bIns="88900" rtlCol="0" anchor="ctr"/>
              <a:lstStyle/>
              <a:p>
                <a:pPr marL="0" marR="0" lvl="0" indent="0" algn="ctr" defTabSz="1217613" rtl="0" eaLnBrk="0" fontAlgn="base" latinLnBrk="0" hangingPunct="0">
                  <a:lnSpc>
                    <a:spcPct val="106000"/>
                  </a:lnSpc>
                  <a:spcBef>
                    <a:spcPct val="0"/>
                  </a:spcBef>
                  <a:spcAft>
                    <a:spcPct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panose="020B0604030504040204" pitchFamily="34" charset="0"/>
                  <a:ea typeface="+mn-ea"/>
                  <a:cs typeface="+mn-cs"/>
                </a:endParaRPr>
              </a:p>
            </p:txBody>
          </p:sp>
          <p:sp>
            <p:nvSpPr>
              <p:cNvPr id="51" name="TextBox 50">
                <a:extLst>
                  <a:ext uri="{FF2B5EF4-FFF2-40B4-BE49-F238E27FC236}">
                    <a16:creationId xmlns:a16="http://schemas.microsoft.com/office/drawing/2014/main" id="{456D0DC6-987E-48ED-BDEA-D3D503D1CE1A}"/>
                  </a:ext>
                </a:extLst>
              </p:cNvPr>
              <p:cNvSpPr txBox="1"/>
              <p:nvPr/>
            </p:nvSpPr>
            <p:spPr>
              <a:xfrm>
                <a:off x="4862055" y="4306377"/>
                <a:ext cx="1681430" cy="215444"/>
              </a:xfrm>
              <a:prstGeom prst="rect">
                <a:avLst/>
              </a:prstGeom>
              <a:noFill/>
            </p:spPr>
            <p:txBody>
              <a:bodyPr wrap="square" rtlCol="0">
                <a:spAutoFit/>
              </a:bodyPr>
              <a:lstStyle/>
              <a:p>
                <a:pPr marL="0" marR="0" lvl="0" indent="0" algn="ctr" defTabSz="1217613"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300" normalizeH="0" baseline="0" noProof="0" dirty="0">
                    <a:ln>
                      <a:noFill/>
                    </a:ln>
                    <a:solidFill>
                      <a:srgbClr val="A5A5A5">
                        <a:lumMod val="50000"/>
                      </a:srgbClr>
                    </a:solidFill>
                    <a:effectLst/>
                    <a:uLnTx/>
                    <a:uFillTx/>
                    <a:latin typeface="Verdana"/>
                    <a:ea typeface="+mn-ea"/>
                    <a:cs typeface="+mn-cs"/>
                  </a:rPr>
                  <a:t>DATA LAYER</a:t>
                </a:r>
              </a:p>
            </p:txBody>
          </p:sp>
          <p:grpSp>
            <p:nvGrpSpPr>
              <p:cNvPr id="52" name="Group 51">
                <a:extLst>
                  <a:ext uri="{FF2B5EF4-FFF2-40B4-BE49-F238E27FC236}">
                    <a16:creationId xmlns:a16="http://schemas.microsoft.com/office/drawing/2014/main" id="{30DFAD1B-1D1F-41FE-AD91-7DC367C23F89}"/>
                  </a:ext>
                </a:extLst>
              </p:cNvPr>
              <p:cNvGrpSpPr>
                <a:grpSpLocks noChangeAspect="1"/>
              </p:cNvGrpSpPr>
              <p:nvPr/>
            </p:nvGrpSpPr>
            <p:grpSpPr>
              <a:xfrm>
                <a:off x="5396210" y="3755465"/>
                <a:ext cx="522288" cy="522288"/>
                <a:chOff x="3194051" y="4180523"/>
                <a:chExt cx="522288" cy="522288"/>
              </a:xfrm>
            </p:grpSpPr>
            <p:sp>
              <p:nvSpPr>
                <p:cNvPr id="54" name="Freeform 49">
                  <a:extLst>
                    <a:ext uri="{FF2B5EF4-FFF2-40B4-BE49-F238E27FC236}">
                      <a16:creationId xmlns:a16="http://schemas.microsoft.com/office/drawing/2014/main" id="{946F2314-D3F1-4FD8-86C9-0D9FFB511DDE}"/>
                    </a:ext>
                  </a:extLst>
                </p:cNvPr>
                <p:cNvSpPr>
                  <a:spLocks noEditPoints="1"/>
                </p:cNvSpPr>
                <p:nvPr/>
              </p:nvSpPr>
              <p:spPr bwMode="auto">
                <a:xfrm>
                  <a:off x="3194051" y="4180523"/>
                  <a:ext cx="522288" cy="522288"/>
                </a:xfrm>
                <a:custGeom>
                  <a:avLst/>
                  <a:gdLst>
                    <a:gd name="T0" fmla="*/ 312 w 659"/>
                    <a:gd name="T1" fmla="*/ 657 h 657"/>
                    <a:gd name="T2" fmla="*/ 262 w 659"/>
                    <a:gd name="T3" fmla="*/ 650 h 657"/>
                    <a:gd name="T4" fmla="*/ 202 w 659"/>
                    <a:gd name="T5" fmla="*/ 632 h 657"/>
                    <a:gd name="T6" fmla="*/ 120 w 659"/>
                    <a:gd name="T7" fmla="*/ 582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6 h 657"/>
                    <a:gd name="T20" fmla="*/ 41 w 659"/>
                    <a:gd name="T21" fmla="*/ 172 h 657"/>
                    <a:gd name="T22" fmla="*/ 97 w 659"/>
                    <a:gd name="T23" fmla="*/ 97 h 657"/>
                    <a:gd name="T24" fmla="*/ 172 w 659"/>
                    <a:gd name="T25" fmla="*/ 39 h 657"/>
                    <a:gd name="T26" fmla="*/ 248 w 659"/>
                    <a:gd name="T27" fmla="*/ 9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19 h 657"/>
                    <a:gd name="T40" fmla="*/ 632 w 659"/>
                    <a:gd name="T41" fmla="*/ 200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7 h 657"/>
                    <a:gd name="T54" fmla="*/ 514 w 659"/>
                    <a:gd name="T55" fmla="*/ 601 h 657"/>
                    <a:gd name="T56" fmla="*/ 426 w 659"/>
                    <a:gd name="T57" fmla="*/ 642 h 657"/>
                    <a:gd name="T58" fmla="*/ 379 w 659"/>
                    <a:gd name="T59" fmla="*/ 653 h 657"/>
                    <a:gd name="T60" fmla="*/ 330 w 659"/>
                    <a:gd name="T61" fmla="*/ 657 h 657"/>
                    <a:gd name="T62" fmla="*/ 330 w 659"/>
                    <a:gd name="T63" fmla="*/ 37 h 657"/>
                    <a:gd name="T64" fmla="*/ 242 w 659"/>
                    <a:gd name="T65" fmla="*/ 51 h 657"/>
                    <a:gd name="T66" fmla="*/ 167 w 659"/>
                    <a:gd name="T67" fmla="*/ 87 h 657"/>
                    <a:gd name="T68" fmla="*/ 105 w 659"/>
                    <a:gd name="T69" fmla="*/ 144 h 657"/>
                    <a:gd name="T70" fmla="*/ 61 w 659"/>
                    <a:gd name="T71" fmla="*/ 215 h 657"/>
                    <a:gd name="T72" fmla="*/ 39 w 659"/>
                    <a:gd name="T73" fmla="*/ 298 h 657"/>
                    <a:gd name="T74" fmla="*/ 39 w 659"/>
                    <a:gd name="T75" fmla="*/ 359 h 657"/>
                    <a:gd name="T76" fmla="*/ 61 w 659"/>
                    <a:gd name="T77" fmla="*/ 442 h 657"/>
                    <a:gd name="T78" fmla="*/ 105 w 659"/>
                    <a:gd name="T79" fmla="*/ 513 h 657"/>
                    <a:gd name="T80" fmla="*/ 167 w 659"/>
                    <a:gd name="T81" fmla="*/ 570 h 657"/>
                    <a:gd name="T82" fmla="*/ 242 w 659"/>
                    <a:gd name="T83" fmla="*/ 607 h 657"/>
                    <a:gd name="T84" fmla="*/ 330 w 659"/>
                    <a:gd name="T85" fmla="*/ 619 h 657"/>
                    <a:gd name="T86" fmla="*/ 387 w 659"/>
                    <a:gd name="T87" fmla="*/ 614 h 657"/>
                    <a:gd name="T88" fmla="*/ 468 w 659"/>
                    <a:gd name="T89" fmla="*/ 584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5 h 657"/>
                    <a:gd name="T102" fmla="*/ 515 w 659"/>
                    <a:gd name="T103" fmla="*/ 103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3"/>
                      </a:lnTo>
                      <a:lnTo>
                        <a:pt x="262" y="650"/>
                      </a:lnTo>
                      <a:lnTo>
                        <a:pt x="248" y="648"/>
                      </a:lnTo>
                      <a:lnTo>
                        <a:pt x="232" y="642"/>
                      </a:lnTo>
                      <a:lnTo>
                        <a:pt x="202" y="632"/>
                      </a:lnTo>
                      <a:lnTo>
                        <a:pt x="172" y="618"/>
                      </a:lnTo>
                      <a:lnTo>
                        <a:pt x="146" y="601"/>
                      </a:lnTo>
                      <a:lnTo>
                        <a:pt x="120" y="582"/>
                      </a:lnTo>
                      <a:lnTo>
                        <a:pt x="97" y="562"/>
                      </a:lnTo>
                      <a:lnTo>
                        <a:pt x="76" y="537"/>
                      </a:lnTo>
                      <a:lnTo>
                        <a:pt x="57" y="512"/>
                      </a:lnTo>
                      <a:lnTo>
                        <a:pt x="41" y="485"/>
                      </a:lnTo>
                      <a:lnTo>
                        <a:pt x="26" y="457"/>
                      </a:lnTo>
                      <a:lnTo>
                        <a:pt x="15" y="426"/>
                      </a:lnTo>
                      <a:lnTo>
                        <a:pt x="11" y="411"/>
                      </a:lnTo>
                      <a:lnTo>
                        <a:pt x="7" y="395"/>
                      </a:lnTo>
                      <a:lnTo>
                        <a:pt x="4" y="379"/>
                      </a:lnTo>
                      <a:lnTo>
                        <a:pt x="2" y="361"/>
                      </a:lnTo>
                      <a:lnTo>
                        <a:pt x="0" y="345"/>
                      </a:lnTo>
                      <a:lnTo>
                        <a:pt x="0" y="329"/>
                      </a:lnTo>
                      <a:lnTo>
                        <a:pt x="0" y="329"/>
                      </a:lnTo>
                      <a:lnTo>
                        <a:pt x="0" y="312"/>
                      </a:lnTo>
                      <a:lnTo>
                        <a:pt x="2" y="296"/>
                      </a:lnTo>
                      <a:lnTo>
                        <a:pt x="4" y="278"/>
                      </a:lnTo>
                      <a:lnTo>
                        <a:pt x="7" y="262"/>
                      </a:lnTo>
                      <a:lnTo>
                        <a:pt x="11" y="246"/>
                      </a:lnTo>
                      <a:lnTo>
                        <a:pt x="15" y="231"/>
                      </a:lnTo>
                      <a:lnTo>
                        <a:pt x="26" y="200"/>
                      </a:lnTo>
                      <a:lnTo>
                        <a:pt x="41" y="172"/>
                      </a:lnTo>
                      <a:lnTo>
                        <a:pt x="57" y="145"/>
                      </a:lnTo>
                      <a:lnTo>
                        <a:pt x="76" y="119"/>
                      </a:lnTo>
                      <a:lnTo>
                        <a:pt x="97" y="97"/>
                      </a:lnTo>
                      <a:lnTo>
                        <a:pt x="120" y="75"/>
                      </a:lnTo>
                      <a:lnTo>
                        <a:pt x="146" y="56"/>
                      </a:lnTo>
                      <a:lnTo>
                        <a:pt x="172" y="39"/>
                      </a:lnTo>
                      <a:lnTo>
                        <a:pt x="202" y="25"/>
                      </a:lnTo>
                      <a:lnTo>
                        <a:pt x="232" y="15"/>
                      </a:lnTo>
                      <a:lnTo>
                        <a:pt x="248" y="9"/>
                      </a:lnTo>
                      <a:lnTo>
                        <a:pt x="262" y="7"/>
                      </a:lnTo>
                      <a:lnTo>
                        <a:pt x="280" y="4"/>
                      </a:lnTo>
                      <a:lnTo>
                        <a:pt x="296" y="1"/>
                      </a:lnTo>
                      <a:lnTo>
                        <a:pt x="312" y="0"/>
                      </a:lnTo>
                      <a:lnTo>
                        <a:pt x="330" y="0"/>
                      </a:lnTo>
                      <a:lnTo>
                        <a:pt x="330" y="0"/>
                      </a:lnTo>
                      <a:lnTo>
                        <a:pt x="346" y="0"/>
                      </a:lnTo>
                      <a:lnTo>
                        <a:pt x="363" y="1"/>
                      </a:lnTo>
                      <a:lnTo>
                        <a:pt x="379" y="4"/>
                      </a:lnTo>
                      <a:lnTo>
                        <a:pt x="395" y="7"/>
                      </a:lnTo>
                      <a:lnTo>
                        <a:pt x="412" y="9"/>
                      </a:lnTo>
                      <a:lnTo>
                        <a:pt x="426" y="15"/>
                      </a:lnTo>
                      <a:lnTo>
                        <a:pt x="457" y="25"/>
                      </a:lnTo>
                      <a:lnTo>
                        <a:pt x="486" y="39"/>
                      </a:lnTo>
                      <a:lnTo>
                        <a:pt x="514" y="56"/>
                      </a:lnTo>
                      <a:lnTo>
                        <a:pt x="538" y="75"/>
                      </a:lnTo>
                      <a:lnTo>
                        <a:pt x="562" y="97"/>
                      </a:lnTo>
                      <a:lnTo>
                        <a:pt x="584" y="119"/>
                      </a:lnTo>
                      <a:lnTo>
                        <a:pt x="602" y="145"/>
                      </a:lnTo>
                      <a:lnTo>
                        <a:pt x="619" y="172"/>
                      </a:lnTo>
                      <a:lnTo>
                        <a:pt x="632" y="200"/>
                      </a:lnTo>
                      <a:lnTo>
                        <a:pt x="644" y="231"/>
                      </a:lnTo>
                      <a:lnTo>
                        <a:pt x="648" y="246"/>
                      </a:lnTo>
                      <a:lnTo>
                        <a:pt x="652" y="262"/>
                      </a:lnTo>
                      <a:lnTo>
                        <a:pt x="655" y="278"/>
                      </a:lnTo>
                      <a:lnTo>
                        <a:pt x="656" y="296"/>
                      </a:lnTo>
                      <a:lnTo>
                        <a:pt x="658" y="312"/>
                      </a:lnTo>
                      <a:lnTo>
                        <a:pt x="659" y="329"/>
                      </a:lnTo>
                      <a:lnTo>
                        <a:pt x="659" y="329"/>
                      </a:lnTo>
                      <a:lnTo>
                        <a:pt x="658" y="345"/>
                      </a:lnTo>
                      <a:lnTo>
                        <a:pt x="656" y="361"/>
                      </a:lnTo>
                      <a:lnTo>
                        <a:pt x="655" y="379"/>
                      </a:lnTo>
                      <a:lnTo>
                        <a:pt x="652" y="395"/>
                      </a:lnTo>
                      <a:lnTo>
                        <a:pt x="648" y="411"/>
                      </a:lnTo>
                      <a:lnTo>
                        <a:pt x="644" y="426"/>
                      </a:lnTo>
                      <a:lnTo>
                        <a:pt x="632" y="457"/>
                      </a:lnTo>
                      <a:lnTo>
                        <a:pt x="619" y="485"/>
                      </a:lnTo>
                      <a:lnTo>
                        <a:pt x="602" y="512"/>
                      </a:lnTo>
                      <a:lnTo>
                        <a:pt x="584" y="537"/>
                      </a:lnTo>
                      <a:lnTo>
                        <a:pt x="562" y="562"/>
                      </a:lnTo>
                      <a:lnTo>
                        <a:pt x="538" y="582"/>
                      </a:lnTo>
                      <a:lnTo>
                        <a:pt x="514" y="601"/>
                      </a:lnTo>
                      <a:lnTo>
                        <a:pt x="486" y="618"/>
                      </a:lnTo>
                      <a:lnTo>
                        <a:pt x="457" y="632"/>
                      </a:lnTo>
                      <a:lnTo>
                        <a:pt x="426" y="642"/>
                      </a:lnTo>
                      <a:lnTo>
                        <a:pt x="412" y="648"/>
                      </a:lnTo>
                      <a:lnTo>
                        <a:pt x="395" y="650"/>
                      </a:lnTo>
                      <a:lnTo>
                        <a:pt x="379" y="653"/>
                      </a:lnTo>
                      <a:lnTo>
                        <a:pt x="363" y="656"/>
                      </a:lnTo>
                      <a:lnTo>
                        <a:pt x="346" y="657"/>
                      </a:lnTo>
                      <a:lnTo>
                        <a:pt x="330" y="657"/>
                      </a:lnTo>
                      <a:lnTo>
                        <a:pt x="330" y="657"/>
                      </a:lnTo>
                      <a:close/>
                      <a:moveTo>
                        <a:pt x="330" y="37"/>
                      </a:moveTo>
                      <a:lnTo>
                        <a:pt x="330" y="37"/>
                      </a:lnTo>
                      <a:lnTo>
                        <a:pt x="300" y="39"/>
                      </a:lnTo>
                      <a:lnTo>
                        <a:pt x="271" y="43"/>
                      </a:lnTo>
                      <a:lnTo>
                        <a:pt x="242" y="51"/>
                      </a:lnTo>
                      <a:lnTo>
                        <a:pt x="215" y="60"/>
                      </a:lnTo>
                      <a:lnTo>
                        <a:pt x="191" y="72"/>
                      </a:lnTo>
                      <a:lnTo>
                        <a:pt x="167" y="87"/>
                      </a:lnTo>
                      <a:lnTo>
                        <a:pt x="144" y="103"/>
                      </a:lnTo>
                      <a:lnTo>
                        <a:pt x="124" y="122"/>
                      </a:lnTo>
                      <a:lnTo>
                        <a:pt x="105" y="144"/>
                      </a:lnTo>
                      <a:lnTo>
                        <a:pt x="88" y="165"/>
                      </a:lnTo>
                      <a:lnTo>
                        <a:pt x="73" y="189"/>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8" y="492"/>
                      </a:lnTo>
                      <a:lnTo>
                        <a:pt x="105" y="513"/>
                      </a:lnTo>
                      <a:lnTo>
                        <a:pt x="124" y="535"/>
                      </a:lnTo>
                      <a:lnTo>
                        <a:pt x="144" y="554"/>
                      </a:lnTo>
                      <a:lnTo>
                        <a:pt x="167" y="570"/>
                      </a:lnTo>
                      <a:lnTo>
                        <a:pt x="191" y="584"/>
                      </a:lnTo>
                      <a:lnTo>
                        <a:pt x="215" y="597"/>
                      </a:lnTo>
                      <a:lnTo>
                        <a:pt x="242" y="607"/>
                      </a:lnTo>
                      <a:lnTo>
                        <a:pt x="271" y="614"/>
                      </a:lnTo>
                      <a:lnTo>
                        <a:pt x="300" y="618"/>
                      </a:lnTo>
                      <a:lnTo>
                        <a:pt x="330" y="619"/>
                      </a:lnTo>
                      <a:lnTo>
                        <a:pt x="330" y="619"/>
                      </a:lnTo>
                      <a:lnTo>
                        <a:pt x="359" y="618"/>
                      </a:lnTo>
                      <a:lnTo>
                        <a:pt x="387" y="614"/>
                      </a:lnTo>
                      <a:lnTo>
                        <a:pt x="416" y="607"/>
                      </a:lnTo>
                      <a:lnTo>
                        <a:pt x="443" y="597"/>
                      </a:lnTo>
                      <a:lnTo>
                        <a:pt x="468" y="584"/>
                      </a:lnTo>
                      <a:lnTo>
                        <a:pt x="492" y="570"/>
                      </a:lnTo>
                      <a:lnTo>
                        <a:pt x="515" y="554"/>
                      </a:lnTo>
                      <a:lnTo>
                        <a:pt x="535" y="535"/>
                      </a:lnTo>
                      <a:lnTo>
                        <a:pt x="554" y="513"/>
                      </a:lnTo>
                      <a:lnTo>
                        <a:pt x="570" y="492"/>
                      </a:lnTo>
                      <a:lnTo>
                        <a:pt x="585" y="468"/>
                      </a:lnTo>
                      <a:lnTo>
                        <a:pt x="597" y="442"/>
                      </a:lnTo>
                      <a:lnTo>
                        <a:pt x="608" y="415"/>
                      </a:lnTo>
                      <a:lnTo>
                        <a:pt x="615" y="387"/>
                      </a:lnTo>
                      <a:lnTo>
                        <a:pt x="619" y="359"/>
                      </a:lnTo>
                      <a:lnTo>
                        <a:pt x="621" y="329"/>
                      </a:lnTo>
                      <a:lnTo>
                        <a:pt x="621" y="329"/>
                      </a:lnTo>
                      <a:lnTo>
                        <a:pt x="619" y="298"/>
                      </a:lnTo>
                      <a:lnTo>
                        <a:pt x="615" y="270"/>
                      </a:lnTo>
                      <a:lnTo>
                        <a:pt x="608" y="242"/>
                      </a:lnTo>
                      <a:lnTo>
                        <a:pt x="597" y="215"/>
                      </a:lnTo>
                      <a:lnTo>
                        <a:pt x="585" y="189"/>
                      </a:lnTo>
                      <a:lnTo>
                        <a:pt x="570" y="165"/>
                      </a:lnTo>
                      <a:lnTo>
                        <a:pt x="554" y="144"/>
                      </a:lnTo>
                      <a:lnTo>
                        <a:pt x="535" y="122"/>
                      </a:lnTo>
                      <a:lnTo>
                        <a:pt x="515" y="103"/>
                      </a:lnTo>
                      <a:lnTo>
                        <a:pt x="492" y="87"/>
                      </a:lnTo>
                      <a:lnTo>
                        <a:pt x="468" y="72"/>
                      </a:lnTo>
                      <a:lnTo>
                        <a:pt x="443" y="60"/>
                      </a:lnTo>
                      <a:lnTo>
                        <a:pt x="416" y="51"/>
                      </a:lnTo>
                      <a:lnTo>
                        <a:pt x="387" y="43"/>
                      </a:lnTo>
                      <a:lnTo>
                        <a:pt x="359" y="39"/>
                      </a:lnTo>
                      <a:lnTo>
                        <a:pt x="330" y="37"/>
                      </a:lnTo>
                      <a:lnTo>
                        <a:pt x="33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panose="020B0604030504040204" pitchFamily="34" charset="0"/>
                    <a:ea typeface="+mn-ea"/>
                    <a:cs typeface="+mn-cs"/>
                  </a:endParaRPr>
                </a:p>
              </p:txBody>
            </p:sp>
            <p:sp>
              <p:nvSpPr>
                <p:cNvPr id="55" name="Freeform 247">
                  <a:extLst>
                    <a:ext uri="{FF2B5EF4-FFF2-40B4-BE49-F238E27FC236}">
                      <a16:creationId xmlns:a16="http://schemas.microsoft.com/office/drawing/2014/main" id="{309A50C3-A70D-4C01-9E4A-55A00D57F53E}"/>
                    </a:ext>
                  </a:extLst>
                </p:cNvPr>
                <p:cNvSpPr>
                  <a:spLocks/>
                </p:cNvSpPr>
                <p:nvPr/>
              </p:nvSpPr>
              <p:spPr bwMode="auto">
                <a:xfrm>
                  <a:off x="3330576" y="4309110"/>
                  <a:ext cx="249238" cy="147638"/>
                </a:xfrm>
                <a:custGeom>
                  <a:avLst/>
                  <a:gdLst>
                    <a:gd name="T0" fmla="*/ 313 w 316"/>
                    <a:gd name="T1" fmla="*/ 89 h 186"/>
                    <a:gd name="T2" fmla="*/ 161 w 316"/>
                    <a:gd name="T3" fmla="*/ 2 h 186"/>
                    <a:gd name="T4" fmla="*/ 161 w 316"/>
                    <a:gd name="T5" fmla="*/ 2 h 186"/>
                    <a:gd name="T6" fmla="*/ 159 w 316"/>
                    <a:gd name="T7" fmla="*/ 0 h 186"/>
                    <a:gd name="T8" fmla="*/ 156 w 316"/>
                    <a:gd name="T9" fmla="*/ 2 h 186"/>
                    <a:gd name="T10" fmla="*/ 3 w 316"/>
                    <a:gd name="T11" fmla="*/ 89 h 186"/>
                    <a:gd name="T12" fmla="*/ 3 w 316"/>
                    <a:gd name="T13" fmla="*/ 89 h 186"/>
                    <a:gd name="T14" fmla="*/ 1 w 316"/>
                    <a:gd name="T15" fmla="*/ 91 h 186"/>
                    <a:gd name="T16" fmla="*/ 0 w 316"/>
                    <a:gd name="T17" fmla="*/ 95 h 186"/>
                    <a:gd name="T18" fmla="*/ 0 w 316"/>
                    <a:gd name="T19" fmla="*/ 95 h 186"/>
                    <a:gd name="T20" fmla="*/ 1 w 316"/>
                    <a:gd name="T21" fmla="*/ 97 h 186"/>
                    <a:gd name="T22" fmla="*/ 3 w 316"/>
                    <a:gd name="T23" fmla="*/ 99 h 186"/>
                    <a:gd name="T24" fmla="*/ 156 w 316"/>
                    <a:gd name="T25" fmla="*/ 186 h 186"/>
                    <a:gd name="T26" fmla="*/ 156 w 316"/>
                    <a:gd name="T27" fmla="*/ 186 h 186"/>
                    <a:gd name="T28" fmla="*/ 159 w 316"/>
                    <a:gd name="T29" fmla="*/ 186 h 186"/>
                    <a:gd name="T30" fmla="*/ 159 w 316"/>
                    <a:gd name="T31" fmla="*/ 186 h 186"/>
                    <a:gd name="T32" fmla="*/ 161 w 316"/>
                    <a:gd name="T33" fmla="*/ 186 h 186"/>
                    <a:gd name="T34" fmla="*/ 313 w 316"/>
                    <a:gd name="T35" fmla="*/ 99 h 186"/>
                    <a:gd name="T36" fmla="*/ 313 w 316"/>
                    <a:gd name="T37" fmla="*/ 99 h 186"/>
                    <a:gd name="T38" fmla="*/ 316 w 316"/>
                    <a:gd name="T39" fmla="*/ 97 h 186"/>
                    <a:gd name="T40" fmla="*/ 316 w 316"/>
                    <a:gd name="T41" fmla="*/ 95 h 186"/>
                    <a:gd name="T42" fmla="*/ 316 w 316"/>
                    <a:gd name="T43" fmla="*/ 95 h 186"/>
                    <a:gd name="T44" fmla="*/ 316 w 316"/>
                    <a:gd name="T45" fmla="*/ 91 h 186"/>
                    <a:gd name="T46" fmla="*/ 313 w 316"/>
                    <a:gd name="T47" fmla="*/ 89 h 186"/>
                    <a:gd name="T48" fmla="*/ 313 w 316"/>
                    <a:gd name="T49" fmla="*/ 8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6" h="186">
                      <a:moveTo>
                        <a:pt x="313" y="89"/>
                      </a:moveTo>
                      <a:lnTo>
                        <a:pt x="161" y="2"/>
                      </a:lnTo>
                      <a:lnTo>
                        <a:pt x="161" y="2"/>
                      </a:lnTo>
                      <a:lnTo>
                        <a:pt x="159" y="0"/>
                      </a:lnTo>
                      <a:lnTo>
                        <a:pt x="156" y="2"/>
                      </a:lnTo>
                      <a:lnTo>
                        <a:pt x="3" y="89"/>
                      </a:lnTo>
                      <a:lnTo>
                        <a:pt x="3" y="89"/>
                      </a:lnTo>
                      <a:lnTo>
                        <a:pt x="1" y="91"/>
                      </a:lnTo>
                      <a:lnTo>
                        <a:pt x="0" y="95"/>
                      </a:lnTo>
                      <a:lnTo>
                        <a:pt x="0" y="95"/>
                      </a:lnTo>
                      <a:lnTo>
                        <a:pt x="1" y="97"/>
                      </a:lnTo>
                      <a:lnTo>
                        <a:pt x="3" y="99"/>
                      </a:lnTo>
                      <a:lnTo>
                        <a:pt x="156" y="186"/>
                      </a:lnTo>
                      <a:lnTo>
                        <a:pt x="156" y="186"/>
                      </a:lnTo>
                      <a:lnTo>
                        <a:pt x="159" y="186"/>
                      </a:lnTo>
                      <a:lnTo>
                        <a:pt x="159" y="186"/>
                      </a:lnTo>
                      <a:lnTo>
                        <a:pt x="161" y="186"/>
                      </a:lnTo>
                      <a:lnTo>
                        <a:pt x="313" y="99"/>
                      </a:lnTo>
                      <a:lnTo>
                        <a:pt x="313" y="99"/>
                      </a:lnTo>
                      <a:lnTo>
                        <a:pt x="316" y="97"/>
                      </a:lnTo>
                      <a:lnTo>
                        <a:pt x="316" y="95"/>
                      </a:lnTo>
                      <a:lnTo>
                        <a:pt x="316" y="95"/>
                      </a:lnTo>
                      <a:lnTo>
                        <a:pt x="316" y="91"/>
                      </a:lnTo>
                      <a:lnTo>
                        <a:pt x="313" y="89"/>
                      </a:lnTo>
                      <a:lnTo>
                        <a:pt x="313" y="8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panose="020B0604030504040204" pitchFamily="34" charset="0"/>
                    <a:ea typeface="+mn-ea"/>
                    <a:cs typeface="+mn-cs"/>
                  </a:endParaRPr>
                </a:p>
              </p:txBody>
            </p:sp>
            <p:sp>
              <p:nvSpPr>
                <p:cNvPr id="56" name="Freeform 248">
                  <a:extLst>
                    <a:ext uri="{FF2B5EF4-FFF2-40B4-BE49-F238E27FC236}">
                      <a16:creationId xmlns:a16="http://schemas.microsoft.com/office/drawing/2014/main" id="{7F27EDF2-F05F-4E1E-A421-2431D7F149B6}"/>
                    </a:ext>
                  </a:extLst>
                </p:cNvPr>
                <p:cNvSpPr>
                  <a:spLocks/>
                </p:cNvSpPr>
                <p:nvPr/>
              </p:nvSpPr>
              <p:spPr bwMode="auto">
                <a:xfrm>
                  <a:off x="3330576" y="4480560"/>
                  <a:ext cx="249238" cy="95250"/>
                </a:xfrm>
                <a:custGeom>
                  <a:avLst/>
                  <a:gdLst>
                    <a:gd name="T0" fmla="*/ 313 w 316"/>
                    <a:gd name="T1" fmla="*/ 21 h 118"/>
                    <a:gd name="T2" fmla="*/ 276 w 316"/>
                    <a:gd name="T3" fmla="*/ 0 h 118"/>
                    <a:gd name="T4" fmla="*/ 167 w 316"/>
                    <a:gd name="T5" fmla="*/ 62 h 118"/>
                    <a:gd name="T6" fmla="*/ 167 w 316"/>
                    <a:gd name="T7" fmla="*/ 62 h 118"/>
                    <a:gd name="T8" fmla="*/ 163 w 316"/>
                    <a:gd name="T9" fmla="*/ 63 h 118"/>
                    <a:gd name="T10" fmla="*/ 159 w 316"/>
                    <a:gd name="T11" fmla="*/ 64 h 118"/>
                    <a:gd name="T12" fmla="*/ 159 w 316"/>
                    <a:gd name="T13" fmla="*/ 64 h 118"/>
                    <a:gd name="T14" fmla="*/ 155 w 316"/>
                    <a:gd name="T15" fmla="*/ 63 h 118"/>
                    <a:gd name="T16" fmla="*/ 151 w 316"/>
                    <a:gd name="T17" fmla="*/ 62 h 118"/>
                    <a:gd name="T18" fmla="*/ 42 w 316"/>
                    <a:gd name="T19" fmla="*/ 0 h 118"/>
                    <a:gd name="T20" fmla="*/ 3 w 316"/>
                    <a:gd name="T21" fmla="*/ 21 h 118"/>
                    <a:gd name="T22" fmla="*/ 3 w 316"/>
                    <a:gd name="T23" fmla="*/ 21 h 118"/>
                    <a:gd name="T24" fmla="*/ 1 w 316"/>
                    <a:gd name="T25" fmla="*/ 23 h 118"/>
                    <a:gd name="T26" fmla="*/ 0 w 316"/>
                    <a:gd name="T27" fmla="*/ 25 h 118"/>
                    <a:gd name="T28" fmla="*/ 0 w 316"/>
                    <a:gd name="T29" fmla="*/ 25 h 118"/>
                    <a:gd name="T30" fmla="*/ 1 w 316"/>
                    <a:gd name="T31" fmla="*/ 29 h 118"/>
                    <a:gd name="T32" fmla="*/ 3 w 316"/>
                    <a:gd name="T33" fmla="*/ 31 h 118"/>
                    <a:gd name="T34" fmla="*/ 156 w 316"/>
                    <a:gd name="T35" fmla="*/ 118 h 118"/>
                    <a:gd name="T36" fmla="*/ 156 w 316"/>
                    <a:gd name="T37" fmla="*/ 118 h 118"/>
                    <a:gd name="T38" fmla="*/ 159 w 316"/>
                    <a:gd name="T39" fmla="*/ 118 h 118"/>
                    <a:gd name="T40" fmla="*/ 159 w 316"/>
                    <a:gd name="T41" fmla="*/ 118 h 118"/>
                    <a:gd name="T42" fmla="*/ 161 w 316"/>
                    <a:gd name="T43" fmla="*/ 118 h 118"/>
                    <a:gd name="T44" fmla="*/ 313 w 316"/>
                    <a:gd name="T45" fmla="*/ 31 h 118"/>
                    <a:gd name="T46" fmla="*/ 313 w 316"/>
                    <a:gd name="T47" fmla="*/ 31 h 118"/>
                    <a:gd name="T48" fmla="*/ 316 w 316"/>
                    <a:gd name="T49" fmla="*/ 29 h 118"/>
                    <a:gd name="T50" fmla="*/ 316 w 316"/>
                    <a:gd name="T51" fmla="*/ 25 h 118"/>
                    <a:gd name="T52" fmla="*/ 316 w 316"/>
                    <a:gd name="T53" fmla="*/ 25 h 118"/>
                    <a:gd name="T54" fmla="*/ 316 w 316"/>
                    <a:gd name="T55" fmla="*/ 23 h 118"/>
                    <a:gd name="T56" fmla="*/ 313 w 316"/>
                    <a:gd name="T57" fmla="*/ 21 h 118"/>
                    <a:gd name="T58" fmla="*/ 313 w 316"/>
                    <a:gd name="T59" fmla="*/ 2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6" h="118">
                      <a:moveTo>
                        <a:pt x="313" y="21"/>
                      </a:moveTo>
                      <a:lnTo>
                        <a:pt x="276" y="0"/>
                      </a:lnTo>
                      <a:lnTo>
                        <a:pt x="167" y="62"/>
                      </a:lnTo>
                      <a:lnTo>
                        <a:pt x="167" y="62"/>
                      </a:lnTo>
                      <a:lnTo>
                        <a:pt x="163" y="63"/>
                      </a:lnTo>
                      <a:lnTo>
                        <a:pt x="159" y="64"/>
                      </a:lnTo>
                      <a:lnTo>
                        <a:pt x="159" y="64"/>
                      </a:lnTo>
                      <a:lnTo>
                        <a:pt x="155" y="63"/>
                      </a:lnTo>
                      <a:lnTo>
                        <a:pt x="151" y="62"/>
                      </a:lnTo>
                      <a:lnTo>
                        <a:pt x="42" y="0"/>
                      </a:lnTo>
                      <a:lnTo>
                        <a:pt x="3" y="21"/>
                      </a:lnTo>
                      <a:lnTo>
                        <a:pt x="3" y="21"/>
                      </a:lnTo>
                      <a:lnTo>
                        <a:pt x="1" y="23"/>
                      </a:lnTo>
                      <a:lnTo>
                        <a:pt x="0" y="25"/>
                      </a:lnTo>
                      <a:lnTo>
                        <a:pt x="0" y="25"/>
                      </a:lnTo>
                      <a:lnTo>
                        <a:pt x="1" y="29"/>
                      </a:lnTo>
                      <a:lnTo>
                        <a:pt x="3" y="31"/>
                      </a:lnTo>
                      <a:lnTo>
                        <a:pt x="156" y="118"/>
                      </a:lnTo>
                      <a:lnTo>
                        <a:pt x="156" y="118"/>
                      </a:lnTo>
                      <a:lnTo>
                        <a:pt x="159" y="118"/>
                      </a:lnTo>
                      <a:lnTo>
                        <a:pt x="159" y="118"/>
                      </a:lnTo>
                      <a:lnTo>
                        <a:pt x="161" y="118"/>
                      </a:lnTo>
                      <a:lnTo>
                        <a:pt x="313" y="31"/>
                      </a:lnTo>
                      <a:lnTo>
                        <a:pt x="313" y="31"/>
                      </a:lnTo>
                      <a:lnTo>
                        <a:pt x="316" y="29"/>
                      </a:lnTo>
                      <a:lnTo>
                        <a:pt x="316" y="25"/>
                      </a:lnTo>
                      <a:lnTo>
                        <a:pt x="316" y="25"/>
                      </a:lnTo>
                      <a:lnTo>
                        <a:pt x="316" y="23"/>
                      </a:lnTo>
                      <a:lnTo>
                        <a:pt x="313" y="21"/>
                      </a:lnTo>
                      <a:lnTo>
                        <a:pt x="313"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panose="020B0604030504040204" pitchFamily="34" charset="0"/>
                    <a:ea typeface="+mn-ea"/>
                    <a:cs typeface="+mn-cs"/>
                  </a:endParaRPr>
                </a:p>
              </p:txBody>
            </p:sp>
            <p:sp>
              <p:nvSpPr>
                <p:cNvPr id="57" name="Freeform 249">
                  <a:extLst>
                    <a:ext uri="{FF2B5EF4-FFF2-40B4-BE49-F238E27FC236}">
                      <a16:creationId xmlns:a16="http://schemas.microsoft.com/office/drawing/2014/main" id="{57163D48-8844-496E-82E6-38844F85A72E}"/>
                    </a:ext>
                  </a:extLst>
                </p:cNvPr>
                <p:cNvSpPr>
                  <a:spLocks/>
                </p:cNvSpPr>
                <p:nvPr/>
              </p:nvSpPr>
              <p:spPr bwMode="auto">
                <a:xfrm>
                  <a:off x="3330576" y="4421823"/>
                  <a:ext cx="249238" cy="95250"/>
                </a:xfrm>
                <a:custGeom>
                  <a:avLst/>
                  <a:gdLst>
                    <a:gd name="T0" fmla="*/ 313 w 316"/>
                    <a:gd name="T1" fmla="*/ 23 h 120"/>
                    <a:gd name="T2" fmla="*/ 276 w 316"/>
                    <a:gd name="T3" fmla="*/ 0 h 120"/>
                    <a:gd name="T4" fmla="*/ 167 w 316"/>
                    <a:gd name="T5" fmla="*/ 63 h 120"/>
                    <a:gd name="T6" fmla="*/ 167 w 316"/>
                    <a:gd name="T7" fmla="*/ 63 h 120"/>
                    <a:gd name="T8" fmla="*/ 163 w 316"/>
                    <a:gd name="T9" fmla="*/ 64 h 120"/>
                    <a:gd name="T10" fmla="*/ 159 w 316"/>
                    <a:gd name="T11" fmla="*/ 66 h 120"/>
                    <a:gd name="T12" fmla="*/ 159 w 316"/>
                    <a:gd name="T13" fmla="*/ 66 h 120"/>
                    <a:gd name="T14" fmla="*/ 155 w 316"/>
                    <a:gd name="T15" fmla="*/ 64 h 120"/>
                    <a:gd name="T16" fmla="*/ 151 w 316"/>
                    <a:gd name="T17" fmla="*/ 63 h 120"/>
                    <a:gd name="T18" fmla="*/ 42 w 316"/>
                    <a:gd name="T19" fmla="*/ 0 h 120"/>
                    <a:gd name="T20" fmla="*/ 3 w 316"/>
                    <a:gd name="T21" fmla="*/ 23 h 120"/>
                    <a:gd name="T22" fmla="*/ 3 w 316"/>
                    <a:gd name="T23" fmla="*/ 23 h 120"/>
                    <a:gd name="T24" fmla="*/ 1 w 316"/>
                    <a:gd name="T25" fmla="*/ 24 h 120"/>
                    <a:gd name="T26" fmla="*/ 0 w 316"/>
                    <a:gd name="T27" fmla="*/ 27 h 120"/>
                    <a:gd name="T28" fmla="*/ 0 w 316"/>
                    <a:gd name="T29" fmla="*/ 27 h 120"/>
                    <a:gd name="T30" fmla="*/ 1 w 316"/>
                    <a:gd name="T31" fmla="*/ 29 h 120"/>
                    <a:gd name="T32" fmla="*/ 3 w 316"/>
                    <a:gd name="T33" fmla="*/ 32 h 120"/>
                    <a:gd name="T34" fmla="*/ 156 w 316"/>
                    <a:gd name="T35" fmla="*/ 120 h 120"/>
                    <a:gd name="T36" fmla="*/ 156 w 316"/>
                    <a:gd name="T37" fmla="*/ 120 h 120"/>
                    <a:gd name="T38" fmla="*/ 159 w 316"/>
                    <a:gd name="T39" fmla="*/ 120 h 120"/>
                    <a:gd name="T40" fmla="*/ 159 w 316"/>
                    <a:gd name="T41" fmla="*/ 120 h 120"/>
                    <a:gd name="T42" fmla="*/ 161 w 316"/>
                    <a:gd name="T43" fmla="*/ 120 h 120"/>
                    <a:gd name="T44" fmla="*/ 313 w 316"/>
                    <a:gd name="T45" fmla="*/ 32 h 120"/>
                    <a:gd name="T46" fmla="*/ 313 w 316"/>
                    <a:gd name="T47" fmla="*/ 32 h 120"/>
                    <a:gd name="T48" fmla="*/ 316 w 316"/>
                    <a:gd name="T49" fmla="*/ 29 h 120"/>
                    <a:gd name="T50" fmla="*/ 316 w 316"/>
                    <a:gd name="T51" fmla="*/ 27 h 120"/>
                    <a:gd name="T52" fmla="*/ 316 w 316"/>
                    <a:gd name="T53" fmla="*/ 27 h 120"/>
                    <a:gd name="T54" fmla="*/ 316 w 316"/>
                    <a:gd name="T55" fmla="*/ 24 h 120"/>
                    <a:gd name="T56" fmla="*/ 313 w 316"/>
                    <a:gd name="T57" fmla="*/ 23 h 120"/>
                    <a:gd name="T58" fmla="*/ 313 w 316"/>
                    <a:gd name="T59" fmla="*/ 2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6" h="120">
                      <a:moveTo>
                        <a:pt x="313" y="23"/>
                      </a:moveTo>
                      <a:lnTo>
                        <a:pt x="276" y="0"/>
                      </a:lnTo>
                      <a:lnTo>
                        <a:pt x="167" y="63"/>
                      </a:lnTo>
                      <a:lnTo>
                        <a:pt x="167" y="63"/>
                      </a:lnTo>
                      <a:lnTo>
                        <a:pt x="163" y="64"/>
                      </a:lnTo>
                      <a:lnTo>
                        <a:pt x="159" y="66"/>
                      </a:lnTo>
                      <a:lnTo>
                        <a:pt x="159" y="66"/>
                      </a:lnTo>
                      <a:lnTo>
                        <a:pt x="155" y="64"/>
                      </a:lnTo>
                      <a:lnTo>
                        <a:pt x="151" y="63"/>
                      </a:lnTo>
                      <a:lnTo>
                        <a:pt x="42" y="0"/>
                      </a:lnTo>
                      <a:lnTo>
                        <a:pt x="3" y="23"/>
                      </a:lnTo>
                      <a:lnTo>
                        <a:pt x="3" y="23"/>
                      </a:lnTo>
                      <a:lnTo>
                        <a:pt x="1" y="24"/>
                      </a:lnTo>
                      <a:lnTo>
                        <a:pt x="0" y="27"/>
                      </a:lnTo>
                      <a:lnTo>
                        <a:pt x="0" y="27"/>
                      </a:lnTo>
                      <a:lnTo>
                        <a:pt x="1" y="29"/>
                      </a:lnTo>
                      <a:lnTo>
                        <a:pt x="3" y="32"/>
                      </a:lnTo>
                      <a:lnTo>
                        <a:pt x="156" y="120"/>
                      </a:lnTo>
                      <a:lnTo>
                        <a:pt x="156" y="120"/>
                      </a:lnTo>
                      <a:lnTo>
                        <a:pt x="159" y="120"/>
                      </a:lnTo>
                      <a:lnTo>
                        <a:pt x="159" y="120"/>
                      </a:lnTo>
                      <a:lnTo>
                        <a:pt x="161" y="120"/>
                      </a:lnTo>
                      <a:lnTo>
                        <a:pt x="313" y="32"/>
                      </a:lnTo>
                      <a:lnTo>
                        <a:pt x="313" y="32"/>
                      </a:lnTo>
                      <a:lnTo>
                        <a:pt x="316" y="29"/>
                      </a:lnTo>
                      <a:lnTo>
                        <a:pt x="316" y="27"/>
                      </a:lnTo>
                      <a:lnTo>
                        <a:pt x="316" y="27"/>
                      </a:lnTo>
                      <a:lnTo>
                        <a:pt x="316" y="24"/>
                      </a:lnTo>
                      <a:lnTo>
                        <a:pt x="313" y="23"/>
                      </a:lnTo>
                      <a:lnTo>
                        <a:pt x="313"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panose="020B0604030504040204" pitchFamily="34" charset="0"/>
                    <a:ea typeface="+mn-ea"/>
                    <a:cs typeface="+mn-cs"/>
                  </a:endParaRPr>
                </a:p>
              </p:txBody>
            </p:sp>
          </p:grpSp>
          <p:sp>
            <p:nvSpPr>
              <p:cNvPr id="53" name="TextBox 52">
                <a:extLst>
                  <a:ext uri="{FF2B5EF4-FFF2-40B4-BE49-F238E27FC236}">
                    <a16:creationId xmlns:a16="http://schemas.microsoft.com/office/drawing/2014/main" id="{38620314-8F4A-4386-BA83-54BC1F6C5AF6}"/>
                  </a:ext>
                </a:extLst>
              </p:cNvPr>
              <p:cNvSpPr txBox="1"/>
              <p:nvPr/>
            </p:nvSpPr>
            <p:spPr>
              <a:xfrm>
                <a:off x="5164021" y="4499962"/>
                <a:ext cx="1139519" cy="553998"/>
              </a:xfrm>
              <a:prstGeom prst="rect">
                <a:avLst/>
              </a:prstGeom>
              <a:noFill/>
            </p:spPr>
            <p:txBody>
              <a:bodyPr wrap="square" lIns="0" tIns="0" rIns="0" bIns="0" rtlCol="0">
                <a:spAutoFit/>
              </a:bodyPr>
              <a:lstStyle/>
              <a:p>
                <a:pPr marL="171450" marR="0" lvl="0" indent="-171450" algn="l" defTabSz="1217613" rtl="0" eaLnBrk="0" fontAlgn="base" latinLnBrk="0" hangingPunct="0">
                  <a:lnSpc>
                    <a:spcPct val="100000"/>
                  </a:lnSpc>
                  <a:spcBef>
                    <a:spcPts val="0"/>
                  </a:spcBef>
                  <a:spcAft>
                    <a:spcPct val="0"/>
                  </a:spcAft>
                  <a:buClrTx/>
                  <a:buSzPct val="100000"/>
                  <a:buFont typeface="Arial" panose="020B0604020202020204" pitchFamily="34" charset="0"/>
                  <a:buChar char="•"/>
                  <a:tabLst/>
                  <a:defRPr/>
                </a:pPr>
                <a:r>
                  <a:rPr kumimoji="0" lang="en-US" sz="800" b="0" i="0" u="none" strike="noStrike" kern="1200" cap="none" spc="0" normalizeH="0" baseline="0" noProof="0" dirty="0">
                    <a:ln>
                      <a:noFill/>
                    </a:ln>
                    <a:solidFill>
                      <a:srgbClr val="313131"/>
                    </a:solidFill>
                    <a:effectLst/>
                    <a:uLnTx/>
                    <a:uFillTx/>
                    <a:latin typeface="Verdana" panose="020B0604030504040204" pitchFamily="34" charset="0"/>
                    <a:ea typeface="+mn-ea"/>
                    <a:cs typeface="+mn-cs"/>
                  </a:rPr>
                  <a:t>Catalog</a:t>
                </a:r>
              </a:p>
              <a:p>
                <a:pPr marL="171450" marR="0" lvl="0" indent="-171450" algn="l" defTabSz="1217613" rtl="0" eaLnBrk="0" fontAlgn="base" latinLnBrk="0" hangingPunct="0">
                  <a:lnSpc>
                    <a:spcPct val="100000"/>
                  </a:lnSpc>
                  <a:spcBef>
                    <a:spcPts val="0"/>
                  </a:spcBef>
                  <a:spcAft>
                    <a:spcPct val="0"/>
                  </a:spcAft>
                  <a:buClrTx/>
                  <a:buSzPct val="100000"/>
                  <a:buFont typeface="Arial" panose="020B0604020202020204" pitchFamily="34" charset="0"/>
                  <a:buChar char="•"/>
                  <a:tabLst/>
                  <a:defRPr/>
                </a:pPr>
                <a:r>
                  <a:rPr kumimoji="0" lang="en-US" sz="800" b="0" i="0" u="none" strike="noStrike" kern="1200" cap="none" spc="0" normalizeH="0" baseline="0" noProof="0" dirty="0">
                    <a:ln>
                      <a:noFill/>
                    </a:ln>
                    <a:solidFill>
                      <a:srgbClr val="313131"/>
                    </a:solidFill>
                    <a:effectLst/>
                    <a:uLnTx/>
                    <a:uFillTx/>
                    <a:latin typeface="Verdana" panose="020B0604030504040204" pitchFamily="34" charset="0"/>
                    <a:ea typeface="+mn-ea"/>
                    <a:cs typeface="+mn-cs"/>
                  </a:rPr>
                  <a:t>Customer Profile</a:t>
                </a:r>
              </a:p>
              <a:p>
                <a:pPr marL="171450" marR="0" lvl="0" indent="-171450" algn="l" defTabSz="1217613" rtl="0" eaLnBrk="0" fontAlgn="base" latinLnBrk="0" hangingPunct="0">
                  <a:lnSpc>
                    <a:spcPct val="100000"/>
                  </a:lnSpc>
                  <a:spcBef>
                    <a:spcPts val="0"/>
                  </a:spcBef>
                  <a:spcAft>
                    <a:spcPct val="0"/>
                  </a:spcAft>
                  <a:buClrTx/>
                  <a:buSzPct val="100000"/>
                  <a:buFont typeface="Arial" panose="020B0604020202020204" pitchFamily="34" charset="0"/>
                  <a:buChar char="•"/>
                  <a:tabLst/>
                  <a:defRPr/>
                </a:pPr>
                <a:r>
                  <a:rPr kumimoji="0" lang="en-US" sz="800" b="0" i="0" u="none" strike="noStrike" kern="1200" cap="none" spc="0" normalizeH="0" baseline="0" noProof="0" dirty="0">
                    <a:ln>
                      <a:noFill/>
                    </a:ln>
                    <a:solidFill>
                      <a:srgbClr val="313131"/>
                    </a:solidFill>
                    <a:effectLst/>
                    <a:uLnTx/>
                    <a:uFillTx/>
                    <a:latin typeface="Verdana" panose="020B0604030504040204" pitchFamily="34" charset="0"/>
                    <a:ea typeface="+mn-ea"/>
                    <a:cs typeface="+mn-cs"/>
                  </a:rPr>
                  <a:t>Browsing Events</a:t>
                </a:r>
              </a:p>
              <a:p>
                <a:pPr marL="171450" marR="0" lvl="0" indent="-171450" algn="l" defTabSz="1217613" rtl="0" eaLnBrk="0" fontAlgn="base" latinLnBrk="0" hangingPunct="0">
                  <a:lnSpc>
                    <a:spcPct val="100000"/>
                  </a:lnSpc>
                  <a:spcBef>
                    <a:spcPts val="0"/>
                  </a:spcBef>
                  <a:spcAft>
                    <a:spcPct val="0"/>
                  </a:spcAft>
                  <a:buClrTx/>
                  <a:buSzPct val="100000"/>
                  <a:buFont typeface="Arial" panose="020B0604020202020204" pitchFamily="34" charset="0"/>
                  <a:buChar char="•"/>
                  <a:tabLst/>
                  <a:defRPr/>
                </a:pPr>
                <a:r>
                  <a:rPr kumimoji="0" lang="en-US" sz="800" b="0" i="0" u="none" strike="noStrike" kern="1200" cap="none" spc="0" normalizeH="0" baseline="0" noProof="0" dirty="0">
                    <a:ln>
                      <a:noFill/>
                    </a:ln>
                    <a:solidFill>
                      <a:srgbClr val="313131"/>
                    </a:solidFill>
                    <a:effectLst/>
                    <a:uLnTx/>
                    <a:uFillTx/>
                    <a:latin typeface="Verdana" panose="020B0604030504040204" pitchFamily="34" charset="0"/>
                    <a:ea typeface="+mn-ea"/>
                    <a:cs typeface="+mn-cs"/>
                  </a:rPr>
                  <a:t>Search terms</a:t>
                </a:r>
              </a:p>
            </p:txBody>
          </p:sp>
        </p:grpSp>
        <p:sp>
          <p:nvSpPr>
            <p:cNvPr id="38" name="Rounded Rectangle 98">
              <a:extLst>
                <a:ext uri="{FF2B5EF4-FFF2-40B4-BE49-F238E27FC236}">
                  <a16:creationId xmlns:a16="http://schemas.microsoft.com/office/drawing/2014/main" id="{4A0C190C-7820-4292-A714-C2719DBF0881}"/>
                </a:ext>
              </a:extLst>
            </p:cNvPr>
            <p:cNvSpPr/>
            <p:nvPr/>
          </p:nvSpPr>
          <p:spPr bwMode="gray">
            <a:xfrm>
              <a:off x="4696807" y="3195954"/>
              <a:ext cx="1844008" cy="264292"/>
            </a:xfrm>
            <a:prstGeom prst="roundRect">
              <a:avLst/>
            </a:prstGeom>
            <a:noFill/>
            <a:ln w="19050" algn="ctr">
              <a:solidFill>
                <a:schemeClr val="bg1"/>
              </a:solidFill>
              <a:miter lim="800000"/>
              <a:headEnd/>
              <a:tailEnd/>
            </a:ln>
          </p:spPr>
          <p:txBody>
            <a:bodyPr wrap="square" lIns="88900" tIns="88900" rIns="88900" bIns="88900" rtlCol="0" anchor="ctr"/>
            <a:lstStyle/>
            <a:p>
              <a:pPr marL="0" marR="0" lvl="0" indent="0" algn="ctr" defTabSz="1217613" rtl="0" eaLnBrk="0" fontAlgn="base" latinLnBrk="0" hangingPunct="0">
                <a:lnSpc>
                  <a:spcPct val="106000"/>
                </a:lnSpc>
                <a:spcBef>
                  <a:spcPct val="0"/>
                </a:spcBef>
                <a:spcAft>
                  <a:spcPct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instein Recipes</a:t>
              </a: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mn-ea"/>
                  <a:cs typeface="+mn-cs"/>
                </a:rPr>
                <a:t> (AI)</a:t>
              </a:r>
              <a:endParaRPr kumimoji="0" lang="en-US" sz="105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ctr" defTabSz="1217613" rtl="0" eaLnBrk="0" fontAlgn="base" latinLnBrk="0" hangingPunct="0">
                <a:lnSpc>
                  <a:spcPct val="106000"/>
                </a:lnSpc>
                <a:spcBef>
                  <a:spcPct val="0"/>
                </a:spcBef>
                <a:spcAft>
                  <a:spcPct val="0"/>
                </a:spcAft>
                <a:buClrTx/>
                <a:buSzTx/>
                <a:buFont typeface="Wingdings 2" pitchFamily="18" charset="2"/>
                <a:buNone/>
                <a:tabLst/>
                <a:defRPr/>
              </a:pPr>
              <a:endParaRPr kumimoji="0" lang="en-US" sz="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39" name="Rounded Rectangle 99">
              <a:extLst>
                <a:ext uri="{FF2B5EF4-FFF2-40B4-BE49-F238E27FC236}">
                  <a16:creationId xmlns:a16="http://schemas.microsoft.com/office/drawing/2014/main" id="{CD9598B0-D5A0-46A6-B890-C2AB75C9D6C8}"/>
                </a:ext>
              </a:extLst>
            </p:cNvPr>
            <p:cNvSpPr/>
            <p:nvPr/>
          </p:nvSpPr>
          <p:spPr bwMode="gray">
            <a:xfrm>
              <a:off x="4698804" y="3808012"/>
              <a:ext cx="1844008" cy="264292"/>
            </a:xfrm>
            <a:prstGeom prst="roundRect">
              <a:avLst/>
            </a:prstGeom>
            <a:noFill/>
            <a:ln w="19050" algn="ctr">
              <a:solidFill>
                <a:schemeClr val="bg1"/>
              </a:solidFill>
              <a:miter lim="800000"/>
              <a:headEnd/>
              <a:tailEnd/>
            </a:ln>
          </p:spPr>
          <p:txBody>
            <a:bodyPr wrap="square" lIns="88900" tIns="88900" rIns="88900" bIns="88900" rtlCol="0" anchor="ctr"/>
            <a:lstStyle/>
            <a:p>
              <a:pPr marL="0" marR="0" lvl="0" indent="0" algn="ctr" defTabSz="1217613" rtl="0" eaLnBrk="0" fontAlgn="base" latinLnBrk="0" hangingPunct="0">
                <a:lnSpc>
                  <a:spcPct val="106000"/>
                </a:lnSpc>
                <a:spcBef>
                  <a:spcPct val="0"/>
                </a:spcBef>
                <a:spcAft>
                  <a:spcPct val="0"/>
                </a:spcAft>
                <a:buClrTx/>
                <a:buSzTx/>
                <a:buFont typeface="Wingdings 2" pitchFamily="18" charset="2"/>
                <a:buNone/>
                <a:tabLst/>
                <a:defRPr/>
              </a:pPr>
              <a:r>
                <a:rPr kumimoji="0" lang="en-US" sz="105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Identity Stitching</a:t>
              </a:r>
            </a:p>
          </p:txBody>
        </p:sp>
        <p:sp>
          <p:nvSpPr>
            <p:cNvPr id="40" name="Rounded Rectangle 119">
              <a:extLst>
                <a:ext uri="{FF2B5EF4-FFF2-40B4-BE49-F238E27FC236}">
                  <a16:creationId xmlns:a16="http://schemas.microsoft.com/office/drawing/2014/main" id="{71CCD88A-090E-426D-98C1-F3FC27A258B4}"/>
                </a:ext>
              </a:extLst>
            </p:cNvPr>
            <p:cNvSpPr/>
            <p:nvPr/>
          </p:nvSpPr>
          <p:spPr bwMode="gray">
            <a:xfrm>
              <a:off x="4696807" y="3501982"/>
              <a:ext cx="1844008" cy="264292"/>
            </a:xfrm>
            <a:prstGeom prst="roundRect">
              <a:avLst/>
            </a:prstGeom>
            <a:noFill/>
            <a:ln w="19050" algn="ctr">
              <a:solidFill>
                <a:schemeClr val="bg1"/>
              </a:solidFill>
              <a:miter lim="800000"/>
              <a:headEnd/>
              <a:tailEnd/>
            </a:ln>
          </p:spPr>
          <p:txBody>
            <a:bodyPr wrap="square" lIns="88900" tIns="88900" rIns="88900" bIns="88900" rtlCol="0" anchor="ctr"/>
            <a:lstStyle/>
            <a:p>
              <a:pPr marL="0" marR="0" lvl="0" indent="0" algn="ctr" defTabSz="1217613" rtl="0" eaLnBrk="0" fontAlgn="base" latinLnBrk="0" hangingPunct="0">
                <a:lnSpc>
                  <a:spcPct val="106000"/>
                </a:lnSpc>
                <a:spcBef>
                  <a:spcPct val="0"/>
                </a:spcBef>
                <a:spcAft>
                  <a:spcPct val="0"/>
                </a:spcAft>
                <a:buClrTx/>
                <a:buSzTx/>
                <a:buFont typeface="Wingdings 2" pitchFamily="18" charset="2"/>
                <a:buNone/>
                <a:tabLst/>
                <a:defRPr/>
              </a:pPr>
              <a:r>
                <a:rPr kumimoji="0" lang="en-US" sz="105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Reporting</a:t>
              </a:r>
            </a:p>
          </p:txBody>
        </p:sp>
        <p:cxnSp>
          <p:nvCxnSpPr>
            <p:cNvPr id="41" name="Straight Arrow Connector 40">
              <a:extLst>
                <a:ext uri="{FF2B5EF4-FFF2-40B4-BE49-F238E27FC236}">
                  <a16:creationId xmlns:a16="http://schemas.microsoft.com/office/drawing/2014/main" id="{E4059241-6C62-4CA0-AD9A-4BDFD6FFD9DC}"/>
                </a:ext>
              </a:extLst>
            </p:cNvPr>
            <p:cNvCxnSpPr>
              <a:cxnSpLocks/>
            </p:cNvCxnSpPr>
            <p:nvPr/>
          </p:nvCxnSpPr>
          <p:spPr>
            <a:xfrm flipH="1">
              <a:off x="5618811" y="4053302"/>
              <a:ext cx="3229" cy="254802"/>
            </a:xfrm>
            <a:prstGeom prst="straightConnector1">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42" name="Picture 6" descr="Top Google Analytics Announcements From 2017 - Karooya">
              <a:extLst>
                <a:ext uri="{FF2B5EF4-FFF2-40B4-BE49-F238E27FC236}">
                  <a16:creationId xmlns:a16="http://schemas.microsoft.com/office/drawing/2014/main" id="{C05169B8-0034-4FC4-94BA-E480B65D54AA}"/>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3125" b="17058"/>
            <a:stretch/>
          </p:blipFill>
          <p:spPr bwMode="auto">
            <a:xfrm>
              <a:off x="4814273" y="5852368"/>
              <a:ext cx="762856" cy="310688"/>
            </a:xfrm>
            <a:prstGeom prst="rect">
              <a:avLst/>
            </a:prstGeom>
            <a:noFill/>
            <a:extLst>
              <a:ext uri="{909E8E84-426E-40DD-AFC4-6F175D3DCCD1}">
                <a14:hiddenFill xmlns:a14="http://schemas.microsoft.com/office/drawing/2010/main">
                  <a:solidFill>
                    <a:srgbClr val="FFFFFF"/>
                  </a:solidFill>
                </a14:hiddenFill>
              </a:ext>
            </a:extLst>
          </p:spPr>
        </p:pic>
        <p:cxnSp>
          <p:nvCxnSpPr>
            <p:cNvPr id="43" name="Connector: Elbow 42">
              <a:extLst>
                <a:ext uri="{FF2B5EF4-FFF2-40B4-BE49-F238E27FC236}">
                  <a16:creationId xmlns:a16="http://schemas.microsoft.com/office/drawing/2014/main" id="{F4343E13-3326-40F8-AE8D-95B6A2A214C3}"/>
                </a:ext>
              </a:extLst>
            </p:cNvPr>
            <p:cNvCxnSpPr>
              <a:cxnSpLocks/>
            </p:cNvCxnSpPr>
            <p:nvPr/>
          </p:nvCxnSpPr>
          <p:spPr>
            <a:xfrm>
              <a:off x="2800239" y="2407090"/>
              <a:ext cx="1613193" cy="1567037"/>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DE734CD9-8544-443B-96FA-99B9A44192F4}"/>
                </a:ext>
              </a:extLst>
            </p:cNvPr>
            <p:cNvCxnSpPr>
              <a:cxnSpLocks/>
            </p:cNvCxnSpPr>
            <p:nvPr/>
          </p:nvCxnSpPr>
          <p:spPr>
            <a:xfrm flipV="1">
              <a:off x="2800239" y="3974127"/>
              <a:ext cx="1613193" cy="488988"/>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EA77DC9F-C7CD-4D9C-8746-5D0B3B546C49}"/>
                </a:ext>
              </a:extLst>
            </p:cNvPr>
            <p:cNvCxnSpPr>
              <a:cxnSpLocks/>
            </p:cNvCxnSpPr>
            <p:nvPr/>
          </p:nvCxnSpPr>
          <p:spPr>
            <a:xfrm flipV="1">
              <a:off x="2800239" y="3974127"/>
              <a:ext cx="1613193" cy="1384370"/>
            </a:xfrm>
            <a:prstGeom prst="bentConnector3">
              <a:avLst>
                <a:gd name="adj1" fmla="val 50000"/>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or: Elbow 135">
              <a:extLst>
                <a:ext uri="{FF2B5EF4-FFF2-40B4-BE49-F238E27FC236}">
                  <a16:creationId xmlns:a16="http://schemas.microsoft.com/office/drawing/2014/main" id="{60FE80E3-01BB-4E94-B834-32B26B599189}"/>
                </a:ext>
              </a:extLst>
            </p:cNvPr>
            <p:cNvCxnSpPr>
              <a:cxnSpLocks/>
            </p:cNvCxnSpPr>
            <p:nvPr/>
          </p:nvCxnSpPr>
          <p:spPr>
            <a:xfrm>
              <a:off x="2868231" y="3671846"/>
              <a:ext cx="1545201" cy="302281"/>
            </a:xfrm>
            <a:prstGeom prst="bentConnector3">
              <a:avLst>
                <a:gd name="adj1" fmla="val 47427"/>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C96A4E24-81B3-490B-8E27-574BA58CC2A4}"/>
                </a:ext>
              </a:extLst>
            </p:cNvPr>
            <p:cNvCxnSpPr>
              <a:cxnSpLocks/>
              <a:stCxn id="50" idx="4"/>
            </p:cNvCxnSpPr>
            <p:nvPr/>
          </p:nvCxnSpPr>
          <p:spPr>
            <a:xfrm>
              <a:off x="5638088" y="5733081"/>
              <a:ext cx="0" cy="15933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A3BEECFE-03F1-4046-9A13-75C4C81571DF}"/>
                </a:ext>
              </a:extLst>
            </p:cNvPr>
            <p:cNvCxnSpPr>
              <a:stCxn id="8" idx="3"/>
              <a:endCxn id="66" idx="1"/>
            </p:cNvCxnSpPr>
            <p:nvPr/>
          </p:nvCxnSpPr>
          <p:spPr>
            <a:xfrm>
              <a:off x="6949126" y="3170381"/>
              <a:ext cx="2211892" cy="812525"/>
            </a:xfrm>
            <a:prstGeom prst="bentConnector3">
              <a:avLst>
                <a:gd name="adj1" fmla="val 4319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49" name="Picture 2" descr="Integrating Adobe Analytics with SessionCam | SessionCam">
              <a:extLst>
                <a:ext uri="{FF2B5EF4-FFF2-40B4-BE49-F238E27FC236}">
                  <a16:creationId xmlns:a16="http://schemas.microsoft.com/office/drawing/2014/main" id="{B65A3319-E71A-4851-8CAE-32D10F93351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03614" y="5887156"/>
              <a:ext cx="689610" cy="287734"/>
            </a:xfrm>
            <a:prstGeom prst="rect">
              <a:avLst/>
            </a:prstGeom>
            <a:solidFill>
              <a:schemeClr val="bg1"/>
            </a:solidFill>
          </p:spPr>
        </p:pic>
      </p:grpSp>
    </p:spTree>
    <p:extLst>
      <p:ext uri="{BB962C8B-B14F-4D97-AF65-F5344CB8AC3E}">
        <p14:creationId xmlns:p14="http://schemas.microsoft.com/office/powerpoint/2010/main" val="45417031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0">
            <a:extLst>
              <a:ext uri="{FF2B5EF4-FFF2-40B4-BE49-F238E27FC236}">
                <a16:creationId xmlns:a16="http://schemas.microsoft.com/office/drawing/2014/main" id="{54F0E06A-7E06-4475-B31E-2EC43034958C}"/>
              </a:ext>
            </a:extLst>
          </p:cNvPr>
          <p:cNvSpPr txBox="1">
            <a:spLocks/>
          </p:cNvSpPr>
          <p:nvPr/>
        </p:nvSpPr>
        <p:spPr>
          <a:xfrm>
            <a:off x="-1" y="165101"/>
            <a:ext cx="12191999" cy="409330"/>
          </a:xfrm>
          <a:prstGeom prst="rect">
            <a:avLst/>
          </a:prstGeom>
          <a:solidFill>
            <a:schemeClr val="tx1"/>
          </a:solidFill>
        </p:spPr>
        <p:txBody>
          <a:bodyPr vert="horz" lIns="0" tIns="45720" rIns="0" bIns="0" rtlCol="0" anchor="b" anchorCtr="0">
            <a:noAutofit/>
          </a:bodyPr>
          <a:lstStyle>
            <a:lvl1pPr algn="l" defTabSz="914400" rtl="0" eaLnBrk="1" latinLnBrk="0" hangingPunct="1">
              <a:lnSpc>
                <a:spcPct val="90000"/>
              </a:lnSpc>
              <a:spcBef>
                <a:spcPct val="0"/>
              </a:spcBef>
              <a:buNone/>
              <a:defRPr lang="en-US" sz="3600" b="0" kern="1200" spc="-75" dirty="0">
                <a:solidFill>
                  <a:schemeClr val="tx1"/>
                </a:solidFill>
                <a:latin typeface="+mj-lt"/>
                <a:ea typeface="+mj-ea"/>
                <a:cs typeface="+mj-cs"/>
              </a:defRPr>
            </a:lvl1pPr>
          </a:lstStyle>
          <a:p>
            <a:pPr algn="ctr"/>
            <a:r>
              <a:rPr lang="en-US" sz="2800" b="1" dirty="0">
                <a:solidFill>
                  <a:schemeClr val="bg1"/>
                </a:solidFill>
              </a:rPr>
              <a:t>Industry wise Key Use cases</a:t>
            </a:r>
          </a:p>
        </p:txBody>
      </p:sp>
      <p:pic>
        <p:nvPicPr>
          <p:cNvPr id="28" name="Picture 27">
            <a:extLst>
              <a:ext uri="{FF2B5EF4-FFF2-40B4-BE49-F238E27FC236}">
                <a16:creationId xmlns:a16="http://schemas.microsoft.com/office/drawing/2014/main" id="{A407B2AF-0953-4E9A-9E22-D7A08F8B0195}"/>
              </a:ext>
            </a:extLst>
          </p:cNvPr>
          <p:cNvPicPr>
            <a:picLocks noChangeAspect="1"/>
          </p:cNvPicPr>
          <p:nvPr/>
        </p:nvPicPr>
        <p:blipFill>
          <a:blip r:embed="rId3"/>
          <a:stretch>
            <a:fillRect/>
          </a:stretch>
        </p:blipFill>
        <p:spPr>
          <a:xfrm>
            <a:off x="337678" y="6426731"/>
            <a:ext cx="3133725" cy="238125"/>
          </a:xfrm>
          <a:prstGeom prst="rect">
            <a:avLst/>
          </a:prstGeom>
        </p:spPr>
      </p:pic>
      <p:sp>
        <p:nvSpPr>
          <p:cNvPr id="5" name="Text Placeholder 54">
            <a:extLst>
              <a:ext uri="{FF2B5EF4-FFF2-40B4-BE49-F238E27FC236}">
                <a16:creationId xmlns:a16="http://schemas.microsoft.com/office/drawing/2014/main" id="{C9C924D7-E8D4-41B9-8E95-0E87A5818A16}"/>
              </a:ext>
            </a:extLst>
          </p:cNvPr>
          <p:cNvSpPr txBox="1">
            <a:spLocks/>
          </p:cNvSpPr>
          <p:nvPr/>
        </p:nvSpPr>
        <p:spPr>
          <a:xfrm>
            <a:off x="914720" y="1266000"/>
            <a:ext cx="10362880" cy="47548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Example web and email use cases across various industries </a:t>
            </a:r>
          </a:p>
        </p:txBody>
      </p:sp>
      <p:sp>
        <p:nvSpPr>
          <p:cNvPr id="6" name="Rectangle 5">
            <a:extLst>
              <a:ext uri="{FF2B5EF4-FFF2-40B4-BE49-F238E27FC236}">
                <a16:creationId xmlns:a16="http://schemas.microsoft.com/office/drawing/2014/main" id="{FE433624-9A9B-468E-A80D-738E10B7B734}"/>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marL="0" marR="0" lvl="0" indent="0" algn="l" defTabSz="914400" rtl="0" eaLnBrk="0" fontAlgn="base" latinLnBrk="0" hangingPunct="0">
              <a:lnSpc>
                <a:spcPts val="15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 name="Rectangle 6">
            <a:extLst>
              <a:ext uri="{FF2B5EF4-FFF2-40B4-BE49-F238E27FC236}">
                <a16:creationId xmlns:a16="http://schemas.microsoft.com/office/drawing/2014/main" id="{322B8B52-CEC3-4B16-B66E-2DE49B8F6F66}"/>
              </a:ext>
            </a:extLst>
          </p:cNvPr>
          <p:cNvSpPr/>
          <p:nvPr/>
        </p:nvSpPr>
        <p:spPr>
          <a:xfrm>
            <a:off x="8505825" y="6606905"/>
            <a:ext cx="3671095" cy="230832"/>
          </a:xfrm>
          <a:prstGeom prst="rect">
            <a:avLst/>
          </a:prstGeom>
        </p:spPr>
        <p:txBody>
          <a:bodyPr wrap="square">
            <a:spAutoFit/>
          </a:bodyPr>
          <a:lstStyle/>
          <a:p>
            <a:r>
              <a:rPr lang="en-US" sz="900" dirty="0">
                <a:hlinkClick r:id="rId4"/>
              </a:rPr>
              <a:t>https://doc.evergage.com/display/EKB/Web+Use+Case</a:t>
            </a:r>
            <a:r>
              <a:rPr lang="en-US" sz="900">
                <a:hlinkClick r:id="rId4"/>
              </a:rPr>
              <a:t>+Library</a:t>
            </a:r>
            <a:endParaRPr lang="en-US" sz="900"/>
          </a:p>
        </p:txBody>
      </p:sp>
      <p:graphicFrame>
        <p:nvGraphicFramePr>
          <p:cNvPr id="8" name="Table 159">
            <a:extLst>
              <a:ext uri="{FF2B5EF4-FFF2-40B4-BE49-F238E27FC236}">
                <a16:creationId xmlns:a16="http://schemas.microsoft.com/office/drawing/2014/main" id="{4E5FB480-5E71-4B5C-B968-945AEE0FAFA1}"/>
              </a:ext>
            </a:extLst>
          </p:cNvPr>
          <p:cNvGraphicFramePr>
            <a:graphicFrameLocks noGrp="1"/>
          </p:cNvGraphicFramePr>
          <p:nvPr/>
        </p:nvGraphicFramePr>
        <p:xfrm>
          <a:off x="914400" y="1697423"/>
          <a:ext cx="11055880" cy="4034324"/>
        </p:xfrm>
        <a:graphic>
          <a:graphicData uri="http://schemas.openxmlformats.org/drawingml/2006/table">
            <a:tbl>
              <a:tblPr firstRow="1" bandRow="1">
                <a:tableStyleId>{5FD0F851-EC5A-4D38-B0AD-8093EC10F338}</a:tableStyleId>
              </a:tblPr>
              <a:tblGrid>
                <a:gridCol w="2211176">
                  <a:extLst>
                    <a:ext uri="{9D8B030D-6E8A-4147-A177-3AD203B41FA5}">
                      <a16:colId xmlns:a16="http://schemas.microsoft.com/office/drawing/2014/main" val="2063063721"/>
                    </a:ext>
                  </a:extLst>
                </a:gridCol>
                <a:gridCol w="2211176">
                  <a:extLst>
                    <a:ext uri="{9D8B030D-6E8A-4147-A177-3AD203B41FA5}">
                      <a16:colId xmlns:a16="http://schemas.microsoft.com/office/drawing/2014/main" val="1541927470"/>
                    </a:ext>
                  </a:extLst>
                </a:gridCol>
                <a:gridCol w="2211176">
                  <a:extLst>
                    <a:ext uri="{9D8B030D-6E8A-4147-A177-3AD203B41FA5}">
                      <a16:colId xmlns:a16="http://schemas.microsoft.com/office/drawing/2014/main" val="1481734027"/>
                    </a:ext>
                  </a:extLst>
                </a:gridCol>
                <a:gridCol w="2211176">
                  <a:extLst>
                    <a:ext uri="{9D8B030D-6E8A-4147-A177-3AD203B41FA5}">
                      <a16:colId xmlns:a16="http://schemas.microsoft.com/office/drawing/2014/main" val="2409024676"/>
                    </a:ext>
                  </a:extLst>
                </a:gridCol>
                <a:gridCol w="2211176">
                  <a:extLst>
                    <a:ext uri="{9D8B030D-6E8A-4147-A177-3AD203B41FA5}">
                      <a16:colId xmlns:a16="http://schemas.microsoft.com/office/drawing/2014/main" val="773592419"/>
                    </a:ext>
                  </a:extLst>
                </a:gridCol>
              </a:tblGrid>
              <a:tr h="918192">
                <a:tc>
                  <a:txBody>
                    <a:bodyPr/>
                    <a:lstStyle/>
                    <a:p>
                      <a:pPr algn="ctr"/>
                      <a:r>
                        <a:rPr lang="en-US" sz="1200" dirty="0"/>
                        <a:t>Retail</a:t>
                      </a:r>
                    </a:p>
                  </a:txBody>
                  <a:tcPr/>
                </a:tc>
                <a:tc>
                  <a:txBody>
                    <a:bodyPr/>
                    <a:lstStyle/>
                    <a:p>
                      <a:pPr algn="ctr"/>
                      <a:r>
                        <a:rPr lang="en-US" sz="1200"/>
                        <a:t>Life Sciences</a:t>
                      </a:r>
                      <a:endParaRPr lang="en-US" sz="1200" dirty="0"/>
                    </a:p>
                  </a:txBody>
                  <a:tcPr/>
                </a:tc>
                <a:tc>
                  <a:txBody>
                    <a:bodyPr/>
                    <a:lstStyle/>
                    <a:p>
                      <a:pPr algn="ctr"/>
                      <a:r>
                        <a:rPr lang="en-US" sz="1200"/>
                        <a:t>Financial Services</a:t>
                      </a:r>
                      <a:endParaRPr lang="en-US" sz="1200" dirty="0"/>
                    </a:p>
                  </a:txBody>
                  <a:tcPr/>
                </a:tc>
                <a:tc>
                  <a:txBody>
                    <a:bodyPr/>
                    <a:lstStyle/>
                    <a:p>
                      <a:pPr algn="ctr"/>
                      <a:r>
                        <a:rPr lang="en-US" sz="1200"/>
                        <a:t>Technology, Media, &amp; Entertainment</a:t>
                      </a:r>
                      <a:endParaRPr lang="en-US" sz="1200" dirty="0"/>
                    </a:p>
                  </a:txBody>
                  <a:tcPr/>
                </a:tc>
                <a:tc>
                  <a:txBody>
                    <a:bodyPr/>
                    <a:lstStyle/>
                    <a:p>
                      <a:pPr algn="ctr"/>
                      <a:r>
                        <a:rPr lang="en-US" sz="1200"/>
                        <a:t>Consumer &amp; Industrial Products</a:t>
                      </a:r>
                    </a:p>
                    <a:p>
                      <a:pPr algn="ctr"/>
                      <a:endParaRPr lang="en-US" sz="1200"/>
                    </a:p>
                    <a:p>
                      <a:pPr algn="ctr"/>
                      <a:endParaRPr lang="en-US" sz="1200"/>
                    </a:p>
                    <a:p>
                      <a:pPr algn="ctr"/>
                      <a:endParaRPr lang="en-US" sz="1200" dirty="0"/>
                    </a:p>
                  </a:txBody>
                  <a:tcPr/>
                </a:tc>
                <a:extLst>
                  <a:ext uri="{0D108BD9-81ED-4DB2-BD59-A6C34878D82A}">
                    <a16:rowId xmlns:a16="http://schemas.microsoft.com/office/drawing/2014/main" val="972951355"/>
                  </a:ext>
                </a:extLst>
              </a:tr>
              <a:tr h="1654895">
                <a:tc>
                  <a:txBody>
                    <a:bodyPr/>
                    <a:lstStyle/>
                    <a:p>
                      <a:r>
                        <a:rPr lang="en-US" sz="1100" b="1"/>
                        <a:t>Einstein 1:1 Product Recommendations</a:t>
                      </a:r>
                    </a:p>
                    <a:p>
                      <a:r>
                        <a:rPr lang="en-US" sz="1100"/>
                        <a:t>Real-time recommendations will update to reflect products each user is most interested in. </a:t>
                      </a:r>
                      <a:endParaRPr lang="en-US" sz="1100" dirty="0"/>
                    </a:p>
                  </a:txBody>
                  <a:tcPr/>
                </a:tc>
                <a:tc>
                  <a:txBody>
                    <a:bodyPr/>
                    <a:lstStyle/>
                    <a:p>
                      <a:r>
                        <a:rPr lang="en-US" sz="1100" b="1"/>
                        <a:t>Optimize the HCP Engagement Experience</a:t>
                      </a:r>
                    </a:p>
                    <a:p>
                      <a:r>
                        <a:rPr lang="en-US" sz="1100" b="0"/>
                        <a:t>Support and engage HCPs by encouraging them to request more information from the website to drive web personalization. </a:t>
                      </a:r>
                      <a:endParaRPr lang="en-US" sz="1100" b="0" dirty="0"/>
                    </a:p>
                  </a:txBody>
                  <a:tcPr/>
                </a:tc>
                <a:tc>
                  <a:txBody>
                    <a:bodyPr/>
                    <a:lstStyle/>
                    <a:p>
                      <a:r>
                        <a:rPr lang="en-US" sz="1100" b="1"/>
                        <a:t>Customer Onboarding and Build Relationships</a:t>
                      </a:r>
                    </a:p>
                    <a:p>
                      <a:r>
                        <a:rPr lang="en-US" sz="1100"/>
                        <a:t>Remind first time customers of the things they need to do and the actions they need to take to get started with your solution. </a:t>
                      </a:r>
                      <a:endParaRPr lang="en-US" sz="1100" dirty="0"/>
                    </a:p>
                  </a:txBody>
                  <a:tcPr/>
                </a:tc>
                <a:tc>
                  <a:txBody>
                    <a:bodyPr/>
                    <a:lstStyle/>
                    <a:p>
                      <a:r>
                        <a:rPr lang="en-US" sz="1100" b="1"/>
                        <a:t>Reduce Call Center Volume During Onboarding</a:t>
                      </a:r>
                    </a:p>
                    <a:p>
                      <a:r>
                        <a:rPr lang="en-US" sz="1100" b="0"/>
                        <a:t>Connect the digital and service channels together and personalize the web experience based on the web and customer data.</a:t>
                      </a:r>
                    </a:p>
                    <a:p>
                      <a:endParaRPr lang="en-US" sz="1100" b="0" dirty="0"/>
                    </a:p>
                  </a:txBody>
                  <a:tcPr/>
                </a:tc>
                <a:tc>
                  <a:txBody>
                    <a:bodyPr/>
                    <a:lstStyle/>
                    <a:p>
                      <a:r>
                        <a:rPr lang="en-US" sz="1100" b="1"/>
                        <a:t>Generate Demand by Preventing Bounce</a:t>
                      </a:r>
                    </a:p>
                    <a:p>
                      <a:r>
                        <a:rPr lang="en-US" sz="1100" b="0"/>
                        <a:t>Provide a web popup or other engagement point to segments based on visitors who are on the site for the first time. </a:t>
                      </a:r>
                      <a:endParaRPr lang="en-US" sz="1100" b="0" dirty="0"/>
                    </a:p>
                  </a:txBody>
                  <a:tcPr/>
                </a:tc>
                <a:extLst>
                  <a:ext uri="{0D108BD9-81ED-4DB2-BD59-A6C34878D82A}">
                    <a16:rowId xmlns:a16="http://schemas.microsoft.com/office/drawing/2014/main" val="3062399706"/>
                  </a:ext>
                </a:extLst>
              </a:tr>
              <a:tr h="1461237">
                <a:tc>
                  <a:txBody>
                    <a:bodyPr/>
                    <a:lstStyle/>
                    <a:p>
                      <a:r>
                        <a:rPr lang="en-US" sz="1100" b="1" dirty="0"/>
                        <a:t>Retarget Customers to Encourage a Purchase</a:t>
                      </a:r>
                    </a:p>
                    <a:p>
                      <a:r>
                        <a:rPr lang="en-US" sz="1100" b="0" dirty="0"/>
                        <a:t>Present personalized calls to action and email content.</a:t>
                      </a:r>
                    </a:p>
                  </a:txBody>
                  <a:tcPr/>
                </a:tc>
                <a:tc>
                  <a:txBody>
                    <a:bodyPr/>
                    <a:lstStyle/>
                    <a:p>
                      <a:r>
                        <a:rPr lang="en-US" sz="1100" b="1"/>
                        <a:t>Optimize the Enrollment Experience</a:t>
                      </a:r>
                    </a:p>
                    <a:p>
                      <a:r>
                        <a:rPr lang="en-US" sz="1100" b="0"/>
                        <a:t>Ensure urgent messages are seen by managing saturation limits and prioritizing journeys.</a:t>
                      </a:r>
                    </a:p>
                    <a:p>
                      <a:endParaRPr lang="en-US" sz="1100" dirty="0"/>
                    </a:p>
                  </a:txBody>
                  <a:tcPr/>
                </a:tc>
                <a:tc>
                  <a:txBody>
                    <a:bodyPr/>
                    <a:lstStyle/>
                    <a:p>
                      <a:r>
                        <a:rPr lang="en-US" sz="1100" b="1" dirty="0"/>
                        <a:t>Optimize the Digital to In-Person Conversation</a:t>
                      </a:r>
                    </a:p>
                    <a:p>
                      <a:r>
                        <a:rPr lang="en-US" sz="1100" b="0" dirty="0"/>
                        <a:t>Understand the customer intent by listening to their activity on the website and mobile, to place them in the most appropriate journey.</a:t>
                      </a:r>
                    </a:p>
                  </a:txBody>
                  <a:tcPr/>
                </a:tc>
                <a:tc>
                  <a:txBody>
                    <a:bodyPr/>
                    <a:lstStyle/>
                    <a:p>
                      <a:r>
                        <a:rPr lang="en-US" sz="1100" b="1"/>
                        <a:t>Deliver a Consistent Message Across Channels</a:t>
                      </a:r>
                    </a:p>
                    <a:p>
                      <a:r>
                        <a:rPr lang="en-US" sz="1100" b="0"/>
                        <a:t>Understand and know intent, need, and preference in real-time, ensuring relevant and timely communications are being sent. </a:t>
                      </a:r>
                      <a:endParaRPr lang="en-US" sz="1100" b="0" dirty="0"/>
                    </a:p>
                  </a:txBody>
                  <a:tcPr/>
                </a:tc>
                <a:tc>
                  <a:txBody>
                    <a:bodyPr/>
                    <a:lstStyle/>
                    <a:p>
                      <a:r>
                        <a:rPr lang="en-US" sz="1100" b="1" dirty="0"/>
                        <a:t>Capture Emails to Create Long-Term Relationships</a:t>
                      </a:r>
                    </a:p>
                    <a:p>
                      <a:r>
                        <a:rPr lang="en-US" sz="1100" b="0" dirty="0"/>
                        <a:t>Qualify leads first by only asking for email address from visitors who are engaging with content.</a:t>
                      </a:r>
                    </a:p>
                  </a:txBody>
                  <a:tcPr/>
                </a:tc>
                <a:extLst>
                  <a:ext uri="{0D108BD9-81ED-4DB2-BD59-A6C34878D82A}">
                    <a16:rowId xmlns:a16="http://schemas.microsoft.com/office/drawing/2014/main" val="4252201290"/>
                  </a:ext>
                </a:extLst>
              </a:tr>
            </a:tbl>
          </a:graphicData>
        </a:graphic>
      </p:graphicFrame>
      <p:sp>
        <p:nvSpPr>
          <p:cNvPr id="9" name="TextBox 8">
            <a:extLst>
              <a:ext uri="{FF2B5EF4-FFF2-40B4-BE49-F238E27FC236}">
                <a16:creationId xmlns:a16="http://schemas.microsoft.com/office/drawing/2014/main" id="{748AA7D2-D048-4DD0-B64B-74A01755084E}"/>
              </a:ext>
            </a:extLst>
          </p:cNvPr>
          <p:cNvSpPr txBox="1"/>
          <p:nvPr/>
        </p:nvSpPr>
        <p:spPr>
          <a:xfrm rot="16200000">
            <a:off x="56083" y="3244334"/>
            <a:ext cx="1000125" cy="369332"/>
          </a:xfrm>
          <a:prstGeom prst="rect">
            <a:avLst/>
          </a:prstGeom>
          <a:noFill/>
        </p:spPr>
        <p:txBody>
          <a:bodyPr wrap="square" rtlCol="0">
            <a:spAutoFit/>
          </a:bodyPr>
          <a:lstStyle/>
          <a:p>
            <a:pPr algn="ctr"/>
            <a:r>
              <a:rPr lang="en-US" b="1" spc="600" dirty="0"/>
              <a:t>WEB</a:t>
            </a:r>
          </a:p>
        </p:txBody>
      </p:sp>
      <p:sp>
        <p:nvSpPr>
          <p:cNvPr id="10" name="TextBox 9">
            <a:extLst>
              <a:ext uri="{FF2B5EF4-FFF2-40B4-BE49-F238E27FC236}">
                <a16:creationId xmlns:a16="http://schemas.microsoft.com/office/drawing/2014/main" id="{13370794-FCFB-4147-B1D0-36357B3087C9}"/>
              </a:ext>
            </a:extLst>
          </p:cNvPr>
          <p:cNvSpPr txBox="1"/>
          <p:nvPr/>
        </p:nvSpPr>
        <p:spPr>
          <a:xfrm rot="16200000">
            <a:off x="-85233" y="4866434"/>
            <a:ext cx="1282755" cy="369332"/>
          </a:xfrm>
          <a:prstGeom prst="rect">
            <a:avLst/>
          </a:prstGeom>
          <a:noFill/>
        </p:spPr>
        <p:txBody>
          <a:bodyPr wrap="square" rtlCol="0">
            <a:spAutoFit/>
          </a:bodyPr>
          <a:lstStyle/>
          <a:p>
            <a:pPr algn="ctr"/>
            <a:r>
              <a:rPr lang="en-US" b="1" spc="600" dirty="0"/>
              <a:t>EMAIL</a:t>
            </a:r>
          </a:p>
        </p:txBody>
      </p:sp>
    </p:spTree>
    <p:extLst>
      <p:ext uri="{BB962C8B-B14F-4D97-AF65-F5344CB8AC3E}">
        <p14:creationId xmlns:p14="http://schemas.microsoft.com/office/powerpoint/2010/main" val="315206755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0">
            <a:extLst>
              <a:ext uri="{FF2B5EF4-FFF2-40B4-BE49-F238E27FC236}">
                <a16:creationId xmlns:a16="http://schemas.microsoft.com/office/drawing/2014/main" id="{54F0E06A-7E06-4475-B31E-2EC43034958C}"/>
              </a:ext>
            </a:extLst>
          </p:cNvPr>
          <p:cNvSpPr txBox="1">
            <a:spLocks/>
          </p:cNvSpPr>
          <p:nvPr/>
        </p:nvSpPr>
        <p:spPr>
          <a:xfrm>
            <a:off x="-1" y="165101"/>
            <a:ext cx="12191999" cy="409330"/>
          </a:xfrm>
          <a:prstGeom prst="rect">
            <a:avLst/>
          </a:prstGeom>
          <a:solidFill>
            <a:schemeClr val="tx1"/>
          </a:solidFill>
        </p:spPr>
        <p:txBody>
          <a:bodyPr vert="horz" lIns="0" tIns="45720" rIns="0" bIns="0" rtlCol="0" anchor="b" anchorCtr="0">
            <a:noAutofit/>
          </a:bodyPr>
          <a:lstStyle>
            <a:lvl1pPr algn="l" defTabSz="914400" rtl="0" eaLnBrk="1" latinLnBrk="0" hangingPunct="1">
              <a:lnSpc>
                <a:spcPct val="90000"/>
              </a:lnSpc>
              <a:spcBef>
                <a:spcPct val="0"/>
              </a:spcBef>
              <a:buNone/>
              <a:defRPr lang="en-US" sz="3600" b="0" kern="1200" spc="-75" dirty="0">
                <a:solidFill>
                  <a:schemeClr val="tx1"/>
                </a:solidFill>
                <a:latin typeface="+mj-lt"/>
                <a:ea typeface="+mj-ea"/>
                <a:cs typeface="+mj-cs"/>
              </a:defRPr>
            </a:lvl1pPr>
          </a:lstStyle>
          <a:p>
            <a:pPr algn="ctr"/>
            <a:r>
              <a:rPr lang="en-US" sz="2800" b="1" dirty="0">
                <a:solidFill>
                  <a:schemeClr val="bg1"/>
                </a:solidFill>
              </a:rPr>
              <a:t>Discovery</a:t>
            </a:r>
          </a:p>
        </p:txBody>
      </p:sp>
      <p:pic>
        <p:nvPicPr>
          <p:cNvPr id="28" name="Picture 27">
            <a:extLst>
              <a:ext uri="{FF2B5EF4-FFF2-40B4-BE49-F238E27FC236}">
                <a16:creationId xmlns:a16="http://schemas.microsoft.com/office/drawing/2014/main" id="{A407B2AF-0953-4E9A-9E22-D7A08F8B0195}"/>
              </a:ext>
            </a:extLst>
          </p:cNvPr>
          <p:cNvPicPr>
            <a:picLocks noChangeAspect="1"/>
          </p:cNvPicPr>
          <p:nvPr/>
        </p:nvPicPr>
        <p:blipFill>
          <a:blip r:embed="rId4"/>
          <a:stretch>
            <a:fillRect/>
          </a:stretch>
        </p:blipFill>
        <p:spPr>
          <a:xfrm>
            <a:off x="337678" y="6426731"/>
            <a:ext cx="3133725" cy="238125"/>
          </a:xfrm>
          <a:prstGeom prst="rect">
            <a:avLst/>
          </a:prstGeom>
        </p:spPr>
      </p:pic>
      <p:grpSp>
        <p:nvGrpSpPr>
          <p:cNvPr id="43" name="Group 42">
            <a:extLst>
              <a:ext uri="{FF2B5EF4-FFF2-40B4-BE49-F238E27FC236}">
                <a16:creationId xmlns:a16="http://schemas.microsoft.com/office/drawing/2014/main" id="{6B996C51-EFB1-4A4A-9BFF-E5696E3D5FDF}"/>
              </a:ext>
            </a:extLst>
          </p:cNvPr>
          <p:cNvGrpSpPr/>
          <p:nvPr/>
        </p:nvGrpSpPr>
        <p:grpSpPr>
          <a:xfrm>
            <a:off x="10952252" y="574431"/>
            <a:ext cx="1157263" cy="1172176"/>
            <a:chOff x="8036652" y="92279"/>
            <a:chExt cx="1472270" cy="1661754"/>
          </a:xfrm>
        </p:grpSpPr>
        <p:graphicFrame>
          <p:nvGraphicFramePr>
            <p:cNvPr id="44" name="Object 43">
              <a:extLst>
                <a:ext uri="{FF2B5EF4-FFF2-40B4-BE49-F238E27FC236}">
                  <a16:creationId xmlns:a16="http://schemas.microsoft.com/office/drawing/2014/main" id="{B8D90ADD-BB68-4E8D-90FF-AEE08FD40A31}"/>
                </a:ext>
              </a:extLst>
            </p:cNvPr>
            <p:cNvGraphicFramePr>
              <a:graphicFrameLocks noChangeAspect="1"/>
            </p:cNvGraphicFramePr>
            <p:nvPr>
              <p:extLst>
                <p:ext uri="{D42A27DB-BD31-4B8C-83A1-F6EECF244321}">
                  <p14:modId xmlns:p14="http://schemas.microsoft.com/office/powerpoint/2010/main" val="1986400677"/>
                </p:ext>
              </p:extLst>
            </p:nvPr>
          </p:nvGraphicFramePr>
          <p:xfrm>
            <a:off x="8271929" y="663074"/>
            <a:ext cx="1236993" cy="1090959"/>
          </p:xfrm>
          <a:graphic>
            <a:graphicData uri="http://schemas.openxmlformats.org/presentationml/2006/ole">
              <mc:AlternateContent xmlns:mc="http://schemas.openxmlformats.org/markup-compatibility/2006">
                <mc:Choice xmlns:v="urn:schemas-microsoft-com:vml" Requires="v">
                  <p:oleObj spid="_x0000_s2079" name="Acrobat Document" showAsIcon="1" r:id="rId5" imgW="914400" imgH="806400" progId="Acrobat.Document.DC">
                    <p:embed/>
                  </p:oleObj>
                </mc:Choice>
                <mc:Fallback>
                  <p:oleObj name="Acrobat Document" showAsIcon="1" r:id="rId5" imgW="914400" imgH="806400" progId="Acrobat.Document.DC">
                    <p:embed/>
                    <p:pic>
                      <p:nvPicPr>
                        <p:cNvPr id="49" name="Object 48">
                          <a:extLst>
                            <a:ext uri="{FF2B5EF4-FFF2-40B4-BE49-F238E27FC236}">
                              <a16:creationId xmlns:a16="http://schemas.microsoft.com/office/drawing/2014/main" id="{04C59E7F-BF34-465C-B8F0-72E8F19AF71D}"/>
                            </a:ext>
                          </a:extLst>
                        </p:cNvPr>
                        <p:cNvPicPr/>
                        <p:nvPr/>
                      </p:nvPicPr>
                      <p:blipFill>
                        <a:blip r:embed="rId6"/>
                        <a:stretch>
                          <a:fillRect/>
                        </a:stretch>
                      </p:blipFill>
                      <p:spPr>
                        <a:xfrm>
                          <a:off x="8271929" y="663074"/>
                          <a:ext cx="1236993" cy="1090959"/>
                        </a:xfrm>
                        <a:prstGeom prst="rect">
                          <a:avLst/>
                        </a:prstGeom>
                      </p:spPr>
                    </p:pic>
                  </p:oleObj>
                </mc:Fallback>
              </mc:AlternateContent>
            </a:graphicData>
          </a:graphic>
        </p:graphicFrame>
        <p:sp>
          <p:nvSpPr>
            <p:cNvPr id="45" name="TextBox 44">
              <a:extLst>
                <a:ext uri="{FF2B5EF4-FFF2-40B4-BE49-F238E27FC236}">
                  <a16:creationId xmlns:a16="http://schemas.microsoft.com/office/drawing/2014/main" id="{A33AE8AC-E8C1-45D8-9223-1BB708C203CA}"/>
                </a:ext>
              </a:extLst>
            </p:cNvPr>
            <p:cNvSpPr txBox="1"/>
            <p:nvPr/>
          </p:nvSpPr>
          <p:spPr>
            <a:xfrm>
              <a:off x="8036652" y="92279"/>
              <a:ext cx="1472270" cy="433578"/>
            </a:xfrm>
            <a:prstGeom prst="rect">
              <a:avLst/>
            </a:prstGeom>
            <a:noFill/>
          </p:spPr>
          <p:txBody>
            <a:bodyPr wrap="square" rtlCol="0">
              <a:spAutoFit/>
            </a:bodyPr>
            <a:lstStyle/>
            <a:p>
              <a:pPr algn="ctr"/>
              <a:r>
                <a:rPr lang="en-US" sz="700" dirty="0"/>
                <a:t>Discovery and qualification sheet</a:t>
              </a:r>
            </a:p>
          </p:txBody>
        </p:sp>
      </p:grpSp>
      <p:sp>
        <p:nvSpPr>
          <p:cNvPr id="80" name="Text Placeholder 54">
            <a:extLst>
              <a:ext uri="{FF2B5EF4-FFF2-40B4-BE49-F238E27FC236}">
                <a16:creationId xmlns:a16="http://schemas.microsoft.com/office/drawing/2014/main" id="{BF45198B-7D95-4598-A885-B32075359046}"/>
              </a:ext>
            </a:extLst>
          </p:cNvPr>
          <p:cNvSpPr txBox="1">
            <a:spLocks/>
          </p:cNvSpPr>
          <p:nvPr/>
        </p:nvSpPr>
        <p:spPr>
          <a:xfrm>
            <a:off x="914721" y="1353312"/>
            <a:ext cx="10362880"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200" b="0" i="0" u="none" strike="noStrike" kern="1200" cap="none" spc="-30" normalizeH="0" baseline="0" noProof="0">
                <a:ln>
                  <a:noFill/>
                </a:ln>
                <a:solidFill>
                  <a:srgbClr val="000000"/>
                </a:solidFill>
                <a:effectLst/>
                <a:uLnTx/>
                <a:uFillTx/>
                <a:latin typeface="Open Sans"/>
                <a:ea typeface="Open Sans" charset="0"/>
                <a:cs typeface="Open Sans" charset="0"/>
              </a:rPr>
              <a:t>The discovery phase will vary per client based on the needs and the structure of the engagement, but at the foundation, the following questions should be answered before beginning implementation. You may want to consider building out a roadmap of use cases based on priority and complexity.</a:t>
            </a:r>
          </a:p>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endParaRPr kumimoji="0" lang="en-US" sz="1200" b="0" i="0" u="none" strike="noStrike" kern="1200" cap="none" spc="-30" normalizeH="0" baseline="0" noProof="0" dirty="0">
              <a:ln>
                <a:noFill/>
              </a:ln>
              <a:solidFill>
                <a:srgbClr val="000000"/>
              </a:solidFill>
              <a:effectLst/>
              <a:uLnTx/>
              <a:uFillTx/>
              <a:latin typeface="Open Sans"/>
              <a:ea typeface="Open Sans" charset="0"/>
              <a:cs typeface="Open Sans" charset="0"/>
            </a:endParaRPr>
          </a:p>
        </p:txBody>
      </p:sp>
      <p:sp>
        <p:nvSpPr>
          <p:cNvPr id="81" name="Rectangle 80">
            <a:extLst>
              <a:ext uri="{FF2B5EF4-FFF2-40B4-BE49-F238E27FC236}">
                <a16:creationId xmlns:a16="http://schemas.microsoft.com/office/drawing/2014/main" id="{A396CBA6-C7A4-4B00-AFCD-26DD74D56EC9}"/>
              </a:ext>
            </a:extLst>
          </p:cNvPr>
          <p:cNvSpPr/>
          <p:nvPr/>
        </p:nvSpPr>
        <p:spPr bwMode="gray">
          <a:xfrm>
            <a:off x="1916113" y="914400"/>
            <a:ext cx="8348662" cy="369888"/>
          </a:xfrm>
          <a:prstGeom prst="rect">
            <a:avLst/>
          </a:prstGeom>
          <a:noFill/>
          <a:ln w="12700" cap="rnd" algn="ctr">
            <a:noFill/>
            <a:miter lim="800000"/>
            <a:headEnd/>
            <a:tailEnd/>
          </a:ln>
        </p:spPr>
        <p:txBody>
          <a:bodyPr lIns="0" tIns="0" rIns="0" bIns="0" rtlCol="0" anchor="t" anchorCtr="0"/>
          <a:lstStyle/>
          <a:p>
            <a:pPr eaLnBrk="0" fontAlgn="base" hangingPunct="0">
              <a:lnSpc>
                <a:spcPts val="1500"/>
              </a:lnSpc>
              <a:spcBef>
                <a:spcPct val="0"/>
              </a:spcBef>
              <a:spcAft>
                <a:spcPct val="0"/>
              </a:spcAft>
              <a:defRPr/>
            </a:pPr>
            <a:endParaRPr lang="en-US" sz="1400" dirty="0">
              <a:solidFill>
                <a:srgbClr val="000000"/>
              </a:solidFill>
              <a:latin typeface="Arial" charset="0"/>
              <a:cs typeface="Arial" charset="0"/>
            </a:endParaRPr>
          </a:p>
        </p:txBody>
      </p:sp>
      <p:sp>
        <p:nvSpPr>
          <p:cNvPr id="82" name="Rectangle 81">
            <a:extLst>
              <a:ext uri="{FF2B5EF4-FFF2-40B4-BE49-F238E27FC236}">
                <a16:creationId xmlns:a16="http://schemas.microsoft.com/office/drawing/2014/main" id="{A14FF7AA-6C5B-4F77-9238-86CDCD4D578E}"/>
              </a:ext>
            </a:extLst>
          </p:cNvPr>
          <p:cNvSpPr/>
          <p:nvPr/>
        </p:nvSpPr>
        <p:spPr bwMode="gray">
          <a:xfrm>
            <a:off x="1916113" y="914400"/>
            <a:ext cx="8348662" cy="359130"/>
          </a:xfrm>
          <a:prstGeom prst="rect">
            <a:avLst/>
          </a:prstGeom>
          <a:noFill/>
          <a:ln w="12700" cap="rnd" algn="ctr">
            <a:noFill/>
            <a:miter lim="800000"/>
            <a:headEnd/>
            <a:tailEnd/>
          </a:ln>
        </p:spPr>
        <p:txBody>
          <a:bodyPr lIns="0" tIns="0" rIns="0" bIns="0" rtlCol="0" anchor="t" anchorCtr="0"/>
          <a:lstStyle/>
          <a:p>
            <a:pPr eaLnBrk="0" fontAlgn="base" hangingPunct="0">
              <a:lnSpc>
                <a:spcPts val="1500"/>
              </a:lnSpc>
              <a:spcBef>
                <a:spcPct val="0"/>
              </a:spcBef>
              <a:spcAft>
                <a:spcPct val="0"/>
              </a:spcAft>
              <a:defRPr/>
            </a:pPr>
            <a:endParaRPr lang="en-US" sz="1400" dirty="0">
              <a:solidFill>
                <a:srgbClr val="000000"/>
              </a:solidFill>
              <a:latin typeface="Arial" charset="0"/>
              <a:cs typeface="Arial" charset="0"/>
            </a:endParaRPr>
          </a:p>
        </p:txBody>
      </p:sp>
      <p:cxnSp>
        <p:nvCxnSpPr>
          <p:cNvPr id="83" name="Straight Connector 82">
            <a:extLst>
              <a:ext uri="{FF2B5EF4-FFF2-40B4-BE49-F238E27FC236}">
                <a16:creationId xmlns:a16="http://schemas.microsoft.com/office/drawing/2014/main" id="{EC5E7ED5-E939-498E-9194-CCF6FB02BF4C}"/>
              </a:ext>
            </a:extLst>
          </p:cNvPr>
          <p:cNvCxnSpPr>
            <a:cxnSpLocks/>
          </p:cNvCxnSpPr>
          <p:nvPr/>
        </p:nvCxnSpPr>
        <p:spPr>
          <a:xfrm>
            <a:off x="914400" y="2242655"/>
            <a:ext cx="4555600" cy="0"/>
          </a:xfrm>
          <a:prstGeom prst="line">
            <a:avLst/>
          </a:prstGeom>
          <a:noFill/>
          <a:ln w="28575" cap="flat" cmpd="sng" algn="ctr">
            <a:solidFill>
              <a:srgbClr val="86F200"/>
            </a:solidFill>
            <a:prstDash val="solid"/>
            <a:miter lim="800000"/>
          </a:ln>
          <a:effectLst/>
        </p:spPr>
      </p:cxnSp>
      <p:sp>
        <p:nvSpPr>
          <p:cNvPr id="84" name="Content Placeholder 8">
            <a:extLst>
              <a:ext uri="{FF2B5EF4-FFF2-40B4-BE49-F238E27FC236}">
                <a16:creationId xmlns:a16="http://schemas.microsoft.com/office/drawing/2014/main" id="{22704EBD-BAD1-45EF-9B91-06352CD9A2A7}"/>
              </a:ext>
            </a:extLst>
          </p:cNvPr>
          <p:cNvSpPr txBox="1">
            <a:spLocks/>
          </p:cNvSpPr>
          <p:nvPr/>
        </p:nvSpPr>
        <p:spPr>
          <a:xfrm>
            <a:off x="1366494" y="2528429"/>
            <a:ext cx="3859000" cy="4100652"/>
          </a:xfrm>
          <a:prstGeom prst="rect">
            <a:avLst/>
          </a:prstGeom>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Clr>
                <a:srgbClr val="787878"/>
              </a:buClr>
              <a:buFont typeface="Arial" panose="020B0604020202020204" pitchFamily="34" charset="0"/>
              <a:buNone/>
            </a:pPr>
            <a:r>
              <a:rPr lang="en-GB" sz="1400" b="1" dirty="0">
                <a:solidFill>
                  <a:srgbClr val="000000"/>
                </a:solidFill>
                <a:latin typeface="Open Sans" charset="0"/>
                <a:ea typeface="Open Sans" charset="0"/>
                <a:cs typeface="Open Sans" charset="0"/>
              </a:rPr>
              <a:t>What are your activation channel(s)?</a:t>
            </a:r>
          </a:p>
          <a:p>
            <a:pPr>
              <a:spcBef>
                <a:spcPts val="0"/>
              </a:spcBef>
              <a:buClr>
                <a:srgbClr val="787878"/>
              </a:buClr>
            </a:pPr>
            <a:r>
              <a:rPr lang="en-GB" sz="1200" dirty="0">
                <a:solidFill>
                  <a:srgbClr val="000000"/>
                </a:solidFill>
                <a:latin typeface="Open Sans" charset="0"/>
                <a:ea typeface="Open Sans" charset="0"/>
                <a:cs typeface="Open Sans" charset="0"/>
              </a:rPr>
              <a:t>Website</a:t>
            </a:r>
          </a:p>
          <a:p>
            <a:pPr>
              <a:spcBef>
                <a:spcPts val="0"/>
              </a:spcBef>
              <a:buClr>
                <a:srgbClr val="787878"/>
              </a:buClr>
            </a:pPr>
            <a:r>
              <a:rPr lang="en-GB" sz="1200" dirty="0">
                <a:solidFill>
                  <a:srgbClr val="000000"/>
                </a:solidFill>
                <a:latin typeface="Open Sans" charset="0"/>
                <a:ea typeface="Open Sans" charset="0"/>
                <a:cs typeface="Open Sans" charset="0"/>
              </a:rPr>
              <a:t>Email </a:t>
            </a:r>
          </a:p>
          <a:p>
            <a:pPr>
              <a:spcBef>
                <a:spcPts val="0"/>
              </a:spcBef>
              <a:buClr>
                <a:srgbClr val="787878"/>
              </a:buClr>
            </a:pPr>
            <a:r>
              <a:rPr lang="en-GB" sz="1200" dirty="0">
                <a:solidFill>
                  <a:srgbClr val="000000"/>
                </a:solidFill>
                <a:latin typeface="Open Sans" charset="0"/>
                <a:ea typeface="Open Sans" charset="0"/>
                <a:cs typeface="Open Sans" charset="0"/>
              </a:rPr>
              <a:t>Other (SFMC omni-channel journey)</a:t>
            </a:r>
          </a:p>
          <a:p>
            <a:pPr marL="0" indent="0">
              <a:spcBef>
                <a:spcPts val="0"/>
              </a:spcBef>
              <a:buClr>
                <a:srgbClr val="787878"/>
              </a:buClr>
              <a:buFont typeface="Arial" panose="020B0604020202020204" pitchFamily="34" charset="0"/>
              <a:buNone/>
            </a:pPr>
            <a:endParaRPr lang="en-GB" sz="2400" b="1" dirty="0">
              <a:solidFill>
                <a:srgbClr val="000000"/>
              </a:solidFill>
              <a:latin typeface="Open Sans" charset="0"/>
              <a:ea typeface="Open Sans" charset="0"/>
              <a:cs typeface="Open Sans" charset="0"/>
            </a:endParaRPr>
          </a:p>
          <a:p>
            <a:pPr marL="0" indent="0">
              <a:spcBef>
                <a:spcPts val="0"/>
              </a:spcBef>
              <a:buClr>
                <a:srgbClr val="787878"/>
              </a:buClr>
              <a:buFont typeface="Arial" panose="020B0604020202020204" pitchFamily="34" charset="0"/>
              <a:buNone/>
            </a:pPr>
            <a:r>
              <a:rPr lang="en-GB" sz="1400" b="1" dirty="0">
                <a:solidFill>
                  <a:srgbClr val="000000"/>
                </a:solidFill>
                <a:latin typeface="Open Sans" charset="0"/>
                <a:ea typeface="Open Sans" charset="0"/>
                <a:cs typeface="Open Sans" charset="0"/>
              </a:rPr>
              <a:t>What data do you have on the customer?</a:t>
            </a:r>
          </a:p>
          <a:p>
            <a:pPr>
              <a:spcBef>
                <a:spcPts val="0"/>
              </a:spcBef>
              <a:buClr>
                <a:srgbClr val="787878"/>
              </a:buClr>
            </a:pPr>
            <a:r>
              <a:rPr lang="en-US" sz="1200" dirty="0">
                <a:solidFill>
                  <a:srgbClr val="000000"/>
                </a:solidFill>
                <a:latin typeface="Open Sans" charset="0"/>
                <a:ea typeface="Open Sans" charset="0"/>
                <a:cs typeface="Open Sans" charset="0"/>
              </a:rPr>
              <a:t>All the various data points that you have on a customer can be tied together to build a holistic view</a:t>
            </a:r>
          </a:p>
          <a:p>
            <a:pPr>
              <a:spcBef>
                <a:spcPts val="0"/>
              </a:spcBef>
              <a:buClr>
                <a:srgbClr val="787878"/>
              </a:buClr>
            </a:pPr>
            <a:r>
              <a:rPr lang="en-US" sz="1200" dirty="0">
                <a:solidFill>
                  <a:srgbClr val="000000"/>
                </a:solidFill>
                <a:latin typeface="Open Sans" charset="0"/>
                <a:ea typeface="Open Sans" charset="0"/>
                <a:cs typeface="Open Sans" charset="0"/>
              </a:rPr>
              <a:t>Using this, you can target a customer based on where they are in the customer journey </a:t>
            </a:r>
            <a:endParaRPr lang="en-GB" sz="1200" dirty="0">
              <a:solidFill>
                <a:srgbClr val="000000"/>
              </a:solidFill>
              <a:latin typeface="Open Sans" charset="0"/>
              <a:ea typeface="Open Sans" charset="0"/>
              <a:cs typeface="Open Sans" charset="0"/>
            </a:endParaRPr>
          </a:p>
          <a:p>
            <a:pPr>
              <a:spcBef>
                <a:spcPts val="0"/>
              </a:spcBef>
              <a:buClr>
                <a:srgbClr val="787878"/>
              </a:buClr>
            </a:pPr>
            <a:endParaRPr lang="en-GB" sz="2400" b="1" dirty="0">
              <a:solidFill>
                <a:srgbClr val="000000"/>
              </a:solidFill>
              <a:latin typeface="Open Sans" charset="0"/>
              <a:ea typeface="Open Sans" charset="0"/>
              <a:cs typeface="Open Sans" charset="0"/>
            </a:endParaRPr>
          </a:p>
          <a:p>
            <a:pPr marL="0" indent="0">
              <a:spcBef>
                <a:spcPts val="0"/>
              </a:spcBef>
              <a:buClr>
                <a:srgbClr val="787878"/>
              </a:buClr>
              <a:buFont typeface="Arial" panose="020B0604020202020204" pitchFamily="34" charset="0"/>
              <a:buNone/>
            </a:pPr>
            <a:r>
              <a:rPr lang="en-GB" sz="1400" b="1" dirty="0">
                <a:solidFill>
                  <a:srgbClr val="000000"/>
                </a:solidFill>
                <a:latin typeface="Open Sans" charset="0"/>
                <a:ea typeface="Open Sans" charset="0"/>
                <a:cs typeface="Open Sans" charset="0"/>
              </a:rPr>
              <a:t>What is your end goal?</a:t>
            </a:r>
          </a:p>
          <a:p>
            <a:pPr>
              <a:spcBef>
                <a:spcPts val="0"/>
              </a:spcBef>
              <a:buClr>
                <a:srgbClr val="787878"/>
              </a:buClr>
            </a:pPr>
            <a:r>
              <a:rPr lang="en-GB" sz="1200" dirty="0">
                <a:solidFill>
                  <a:srgbClr val="000000"/>
                </a:solidFill>
                <a:latin typeface="Open Sans" charset="0"/>
                <a:ea typeface="Open Sans" charset="0"/>
                <a:cs typeface="Open Sans" charset="0"/>
              </a:rPr>
              <a:t>What are you trying to achieve by personalizing/optimizing the customer experience? </a:t>
            </a:r>
          </a:p>
          <a:p>
            <a:pPr>
              <a:spcBef>
                <a:spcPts val="0"/>
              </a:spcBef>
              <a:buClr>
                <a:srgbClr val="787878"/>
              </a:buClr>
            </a:pPr>
            <a:r>
              <a:rPr lang="en-GB" sz="1200" dirty="0">
                <a:solidFill>
                  <a:srgbClr val="000000"/>
                </a:solidFill>
                <a:latin typeface="Open Sans" charset="0"/>
                <a:ea typeface="Open Sans" charset="0"/>
                <a:cs typeface="Open Sans" charset="0"/>
              </a:rPr>
              <a:t>(i.e., increase purchase, increase email sign up or account creation) </a:t>
            </a:r>
          </a:p>
        </p:txBody>
      </p:sp>
      <p:sp>
        <p:nvSpPr>
          <p:cNvPr id="85" name="Rectangle 84">
            <a:extLst>
              <a:ext uri="{FF2B5EF4-FFF2-40B4-BE49-F238E27FC236}">
                <a16:creationId xmlns:a16="http://schemas.microsoft.com/office/drawing/2014/main" id="{DCE59CDC-F1A0-4A77-B33B-04EBCE850EAD}"/>
              </a:ext>
            </a:extLst>
          </p:cNvPr>
          <p:cNvSpPr/>
          <p:nvPr/>
        </p:nvSpPr>
        <p:spPr>
          <a:xfrm>
            <a:off x="857248" y="1902502"/>
            <a:ext cx="2877198" cy="307777"/>
          </a:xfrm>
          <a:prstGeom prst="rect">
            <a:avLst/>
          </a:prstGeom>
        </p:spPr>
        <p:txBody>
          <a:bodyPr wrap="none">
            <a:spAutoFit/>
          </a:bodyPr>
          <a:lstStyle/>
          <a:p>
            <a:r>
              <a:rPr lang="en-GB" sz="1400" b="1" spc="300" dirty="0">
                <a:solidFill>
                  <a:srgbClr val="000000"/>
                </a:solidFill>
                <a:latin typeface="Open Sans" charset="0"/>
                <a:ea typeface="Open Sans" charset="0"/>
                <a:cs typeface="Open Sans" charset="0"/>
              </a:rPr>
              <a:t>USE CASE DISCOVERY</a:t>
            </a:r>
            <a:r>
              <a:rPr lang="en-GB" sz="1400" b="1" spc="300" baseline="30000" dirty="0">
                <a:solidFill>
                  <a:srgbClr val="000000"/>
                </a:solidFill>
                <a:latin typeface="Open Sans" charset="0"/>
                <a:ea typeface="Open Sans" charset="0"/>
                <a:cs typeface="Open Sans" charset="0"/>
              </a:rPr>
              <a:t>1</a:t>
            </a:r>
          </a:p>
        </p:txBody>
      </p:sp>
      <p:sp>
        <p:nvSpPr>
          <p:cNvPr id="86" name="Rectangle 85">
            <a:extLst>
              <a:ext uri="{FF2B5EF4-FFF2-40B4-BE49-F238E27FC236}">
                <a16:creationId xmlns:a16="http://schemas.microsoft.com/office/drawing/2014/main" id="{4497BEC7-FC7D-4DA0-AB70-80CB969B9D94}"/>
              </a:ext>
            </a:extLst>
          </p:cNvPr>
          <p:cNvSpPr/>
          <p:nvPr/>
        </p:nvSpPr>
        <p:spPr>
          <a:xfrm>
            <a:off x="6879745" y="1979964"/>
            <a:ext cx="3855543" cy="307777"/>
          </a:xfrm>
          <a:prstGeom prst="rect">
            <a:avLst/>
          </a:prstGeom>
        </p:spPr>
        <p:txBody>
          <a:bodyPr wrap="none">
            <a:spAutoFit/>
          </a:bodyPr>
          <a:lstStyle/>
          <a:p>
            <a:r>
              <a:rPr lang="en-GB" sz="1400" b="1" spc="300" dirty="0">
                <a:solidFill>
                  <a:srgbClr val="000000"/>
                </a:solidFill>
                <a:latin typeface="Open Sans" charset="0"/>
                <a:ea typeface="Open Sans" charset="0"/>
                <a:cs typeface="Open Sans" charset="0"/>
              </a:rPr>
              <a:t>IMPLEMENTATION DISCOVERY</a:t>
            </a:r>
            <a:r>
              <a:rPr lang="en-GB" sz="1400" b="1" spc="300" baseline="30000" dirty="0">
                <a:solidFill>
                  <a:srgbClr val="000000"/>
                </a:solidFill>
                <a:latin typeface="Open Sans" charset="0"/>
                <a:ea typeface="Open Sans" charset="0"/>
                <a:cs typeface="Open Sans" charset="0"/>
              </a:rPr>
              <a:t>2</a:t>
            </a:r>
            <a:endParaRPr lang="en-GB" sz="1400" spc="300" dirty="0">
              <a:solidFill>
                <a:srgbClr val="000000"/>
              </a:solidFill>
              <a:latin typeface="Open Sans" charset="0"/>
              <a:ea typeface="Open Sans" charset="0"/>
              <a:cs typeface="Open Sans" charset="0"/>
            </a:endParaRPr>
          </a:p>
        </p:txBody>
      </p:sp>
      <p:cxnSp>
        <p:nvCxnSpPr>
          <p:cNvPr id="87" name="Straight Connector 86">
            <a:extLst>
              <a:ext uri="{FF2B5EF4-FFF2-40B4-BE49-F238E27FC236}">
                <a16:creationId xmlns:a16="http://schemas.microsoft.com/office/drawing/2014/main" id="{89D8D6AF-88FE-42C5-A057-7D3AAE2F4983}"/>
              </a:ext>
            </a:extLst>
          </p:cNvPr>
          <p:cNvCxnSpPr>
            <a:cxnSpLocks/>
          </p:cNvCxnSpPr>
          <p:nvPr/>
        </p:nvCxnSpPr>
        <p:spPr>
          <a:xfrm>
            <a:off x="6180153" y="2302506"/>
            <a:ext cx="5500224" cy="0"/>
          </a:xfrm>
          <a:prstGeom prst="line">
            <a:avLst/>
          </a:prstGeom>
          <a:noFill/>
          <a:ln w="28575" cap="flat" cmpd="sng" algn="ctr">
            <a:solidFill>
              <a:srgbClr val="34F0FF"/>
            </a:solidFill>
            <a:prstDash val="solid"/>
            <a:miter lim="800000"/>
          </a:ln>
          <a:effectLst/>
        </p:spPr>
      </p:cxnSp>
      <p:grpSp>
        <p:nvGrpSpPr>
          <p:cNvPr id="88" name="Group 87">
            <a:extLst>
              <a:ext uri="{FF2B5EF4-FFF2-40B4-BE49-F238E27FC236}">
                <a16:creationId xmlns:a16="http://schemas.microsoft.com/office/drawing/2014/main" id="{0A53EB14-4EBA-41BA-B6E9-6B53265DD010}"/>
              </a:ext>
            </a:extLst>
          </p:cNvPr>
          <p:cNvGrpSpPr/>
          <p:nvPr/>
        </p:nvGrpSpPr>
        <p:grpSpPr>
          <a:xfrm>
            <a:off x="5470000" y="1973020"/>
            <a:ext cx="710153" cy="713232"/>
            <a:chOff x="5038122" y="2814343"/>
            <a:chExt cx="710153" cy="713232"/>
          </a:xfrm>
        </p:grpSpPr>
        <p:grpSp>
          <p:nvGrpSpPr>
            <p:cNvPr id="89" name="Group 88">
              <a:extLst>
                <a:ext uri="{FF2B5EF4-FFF2-40B4-BE49-F238E27FC236}">
                  <a16:creationId xmlns:a16="http://schemas.microsoft.com/office/drawing/2014/main" id="{C3990536-DF58-4F3A-AB2E-F3651C0F1C10}"/>
                </a:ext>
              </a:extLst>
            </p:cNvPr>
            <p:cNvGrpSpPr>
              <a:grpSpLocks noChangeAspect="1"/>
            </p:cNvGrpSpPr>
            <p:nvPr/>
          </p:nvGrpSpPr>
          <p:grpSpPr>
            <a:xfrm>
              <a:off x="5274263" y="3040599"/>
              <a:ext cx="255587" cy="260350"/>
              <a:chOff x="692151" y="5145723"/>
              <a:chExt cx="255587" cy="260350"/>
            </a:xfrm>
          </p:grpSpPr>
          <p:sp>
            <p:nvSpPr>
              <p:cNvPr id="93" name="Freeform 199">
                <a:extLst>
                  <a:ext uri="{FF2B5EF4-FFF2-40B4-BE49-F238E27FC236}">
                    <a16:creationId xmlns:a16="http://schemas.microsoft.com/office/drawing/2014/main" id="{B717729D-A168-4E48-9701-A468E0CCDCB9}"/>
                  </a:ext>
                </a:extLst>
              </p:cNvPr>
              <p:cNvSpPr>
                <a:spLocks/>
              </p:cNvSpPr>
              <p:nvPr/>
            </p:nvSpPr>
            <p:spPr bwMode="auto">
              <a:xfrm>
                <a:off x="722313" y="5145723"/>
                <a:ext cx="15875" cy="138113"/>
              </a:xfrm>
              <a:custGeom>
                <a:avLst/>
                <a:gdLst>
                  <a:gd name="T0" fmla="*/ 19 w 19"/>
                  <a:gd name="T1" fmla="*/ 8 h 174"/>
                  <a:gd name="T2" fmla="*/ 19 w 19"/>
                  <a:gd name="T3" fmla="*/ 8 h 174"/>
                  <a:gd name="T4" fmla="*/ 18 w 19"/>
                  <a:gd name="T5" fmla="*/ 6 h 174"/>
                  <a:gd name="T6" fmla="*/ 16 w 19"/>
                  <a:gd name="T7" fmla="*/ 3 h 174"/>
                  <a:gd name="T8" fmla="*/ 12 w 19"/>
                  <a:gd name="T9" fmla="*/ 0 h 174"/>
                  <a:gd name="T10" fmla="*/ 10 w 19"/>
                  <a:gd name="T11" fmla="*/ 0 h 174"/>
                  <a:gd name="T12" fmla="*/ 10 w 19"/>
                  <a:gd name="T13" fmla="*/ 0 h 174"/>
                  <a:gd name="T14" fmla="*/ 6 w 19"/>
                  <a:gd name="T15" fmla="*/ 0 h 174"/>
                  <a:gd name="T16" fmla="*/ 3 w 19"/>
                  <a:gd name="T17" fmla="*/ 3 h 174"/>
                  <a:gd name="T18" fmla="*/ 0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6" y="3"/>
                    </a:lnTo>
                    <a:lnTo>
                      <a:pt x="12" y="0"/>
                    </a:lnTo>
                    <a:lnTo>
                      <a:pt x="10" y="0"/>
                    </a:lnTo>
                    <a:lnTo>
                      <a:pt x="10" y="0"/>
                    </a:lnTo>
                    <a:lnTo>
                      <a:pt x="6" y="0"/>
                    </a:lnTo>
                    <a:lnTo>
                      <a:pt x="3" y="3"/>
                    </a:lnTo>
                    <a:lnTo>
                      <a:pt x="0" y="6"/>
                    </a:lnTo>
                    <a:lnTo>
                      <a:pt x="0" y="8"/>
                    </a:lnTo>
                    <a:lnTo>
                      <a:pt x="0" y="174"/>
                    </a:lnTo>
                    <a:lnTo>
                      <a:pt x="19" y="174"/>
                    </a:lnTo>
                    <a:lnTo>
                      <a:pt x="1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ndParaRPr>
              </a:p>
            </p:txBody>
          </p:sp>
          <p:sp>
            <p:nvSpPr>
              <p:cNvPr id="94" name="Freeform 200">
                <a:extLst>
                  <a:ext uri="{FF2B5EF4-FFF2-40B4-BE49-F238E27FC236}">
                    <a16:creationId xmlns:a16="http://schemas.microsoft.com/office/drawing/2014/main" id="{40907905-9176-4FA5-B356-6607A9EDB709}"/>
                  </a:ext>
                </a:extLst>
              </p:cNvPr>
              <p:cNvSpPr>
                <a:spLocks/>
              </p:cNvSpPr>
              <p:nvPr/>
            </p:nvSpPr>
            <p:spPr bwMode="auto">
              <a:xfrm>
                <a:off x="692151" y="5296535"/>
                <a:ext cx="74613" cy="109538"/>
              </a:xfrm>
              <a:custGeom>
                <a:avLst/>
                <a:gdLst>
                  <a:gd name="T0" fmla="*/ 88 w 92"/>
                  <a:gd name="T1" fmla="*/ 0 h 138"/>
                  <a:gd name="T2" fmla="*/ 5 w 92"/>
                  <a:gd name="T3" fmla="*/ 0 h 138"/>
                  <a:gd name="T4" fmla="*/ 5 w 92"/>
                  <a:gd name="T5" fmla="*/ 0 h 138"/>
                  <a:gd name="T6" fmla="*/ 2 w 92"/>
                  <a:gd name="T7" fmla="*/ 0 h 138"/>
                  <a:gd name="T8" fmla="*/ 1 w 92"/>
                  <a:gd name="T9" fmla="*/ 1 h 138"/>
                  <a:gd name="T10" fmla="*/ 0 w 92"/>
                  <a:gd name="T11" fmla="*/ 4 h 138"/>
                  <a:gd name="T12" fmla="*/ 0 w 92"/>
                  <a:gd name="T13" fmla="*/ 5 h 138"/>
                  <a:gd name="T14" fmla="*/ 0 w 92"/>
                  <a:gd name="T15" fmla="*/ 58 h 138"/>
                  <a:gd name="T16" fmla="*/ 0 w 92"/>
                  <a:gd name="T17" fmla="*/ 58 h 138"/>
                  <a:gd name="T18" fmla="*/ 0 w 92"/>
                  <a:gd name="T19" fmla="*/ 59 h 138"/>
                  <a:gd name="T20" fmla="*/ 1 w 92"/>
                  <a:gd name="T21" fmla="*/ 60 h 138"/>
                  <a:gd name="T22" fmla="*/ 2 w 92"/>
                  <a:gd name="T23" fmla="*/ 62 h 138"/>
                  <a:gd name="T24" fmla="*/ 5 w 92"/>
                  <a:gd name="T25" fmla="*/ 62 h 138"/>
                  <a:gd name="T26" fmla="*/ 37 w 92"/>
                  <a:gd name="T27" fmla="*/ 62 h 138"/>
                  <a:gd name="T28" fmla="*/ 37 w 92"/>
                  <a:gd name="T29" fmla="*/ 129 h 138"/>
                  <a:gd name="T30" fmla="*/ 37 w 92"/>
                  <a:gd name="T31" fmla="*/ 129 h 138"/>
                  <a:gd name="T32" fmla="*/ 37 w 92"/>
                  <a:gd name="T33" fmla="*/ 133 h 138"/>
                  <a:gd name="T34" fmla="*/ 40 w 92"/>
                  <a:gd name="T35" fmla="*/ 135 h 138"/>
                  <a:gd name="T36" fmla="*/ 43 w 92"/>
                  <a:gd name="T37" fmla="*/ 138 h 138"/>
                  <a:gd name="T38" fmla="*/ 47 w 92"/>
                  <a:gd name="T39" fmla="*/ 138 h 138"/>
                  <a:gd name="T40" fmla="*/ 47 w 92"/>
                  <a:gd name="T41" fmla="*/ 138 h 138"/>
                  <a:gd name="T42" fmla="*/ 49 w 92"/>
                  <a:gd name="T43" fmla="*/ 138 h 138"/>
                  <a:gd name="T44" fmla="*/ 53 w 92"/>
                  <a:gd name="T45" fmla="*/ 135 h 138"/>
                  <a:gd name="T46" fmla="*/ 55 w 92"/>
                  <a:gd name="T47" fmla="*/ 133 h 138"/>
                  <a:gd name="T48" fmla="*/ 56 w 92"/>
                  <a:gd name="T49" fmla="*/ 129 h 138"/>
                  <a:gd name="T50" fmla="*/ 56 w 92"/>
                  <a:gd name="T51" fmla="*/ 62 h 138"/>
                  <a:gd name="T52" fmla="*/ 88 w 92"/>
                  <a:gd name="T53" fmla="*/ 62 h 138"/>
                  <a:gd name="T54" fmla="*/ 88 w 92"/>
                  <a:gd name="T55" fmla="*/ 62 h 138"/>
                  <a:gd name="T56" fmla="*/ 90 w 92"/>
                  <a:gd name="T57" fmla="*/ 62 h 138"/>
                  <a:gd name="T58" fmla="*/ 91 w 92"/>
                  <a:gd name="T59" fmla="*/ 60 h 138"/>
                  <a:gd name="T60" fmla="*/ 92 w 92"/>
                  <a:gd name="T61" fmla="*/ 59 h 138"/>
                  <a:gd name="T62" fmla="*/ 92 w 92"/>
                  <a:gd name="T63" fmla="*/ 58 h 138"/>
                  <a:gd name="T64" fmla="*/ 92 w 92"/>
                  <a:gd name="T65" fmla="*/ 5 h 138"/>
                  <a:gd name="T66" fmla="*/ 92 w 92"/>
                  <a:gd name="T67" fmla="*/ 5 h 138"/>
                  <a:gd name="T68" fmla="*/ 92 w 92"/>
                  <a:gd name="T69" fmla="*/ 4 h 138"/>
                  <a:gd name="T70" fmla="*/ 91 w 92"/>
                  <a:gd name="T71" fmla="*/ 1 h 138"/>
                  <a:gd name="T72" fmla="*/ 90 w 92"/>
                  <a:gd name="T73" fmla="*/ 0 h 138"/>
                  <a:gd name="T74" fmla="*/ 88 w 92"/>
                  <a:gd name="T75" fmla="*/ 0 h 138"/>
                  <a:gd name="T76" fmla="*/ 88 w 92"/>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38">
                    <a:moveTo>
                      <a:pt x="88" y="0"/>
                    </a:moveTo>
                    <a:lnTo>
                      <a:pt x="5" y="0"/>
                    </a:lnTo>
                    <a:lnTo>
                      <a:pt x="5" y="0"/>
                    </a:lnTo>
                    <a:lnTo>
                      <a:pt x="2" y="0"/>
                    </a:lnTo>
                    <a:lnTo>
                      <a:pt x="1" y="1"/>
                    </a:lnTo>
                    <a:lnTo>
                      <a:pt x="0" y="4"/>
                    </a:lnTo>
                    <a:lnTo>
                      <a:pt x="0" y="5"/>
                    </a:lnTo>
                    <a:lnTo>
                      <a:pt x="0" y="58"/>
                    </a:lnTo>
                    <a:lnTo>
                      <a:pt x="0" y="58"/>
                    </a:lnTo>
                    <a:lnTo>
                      <a:pt x="0" y="59"/>
                    </a:lnTo>
                    <a:lnTo>
                      <a:pt x="1" y="60"/>
                    </a:lnTo>
                    <a:lnTo>
                      <a:pt x="2" y="62"/>
                    </a:lnTo>
                    <a:lnTo>
                      <a:pt x="5" y="62"/>
                    </a:lnTo>
                    <a:lnTo>
                      <a:pt x="37" y="62"/>
                    </a:lnTo>
                    <a:lnTo>
                      <a:pt x="37" y="129"/>
                    </a:lnTo>
                    <a:lnTo>
                      <a:pt x="37" y="129"/>
                    </a:lnTo>
                    <a:lnTo>
                      <a:pt x="37" y="133"/>
                    </a:lnTo>
                    <a:lnTo>
                      <a:pt x="40" y="135"/>
                    </a:lnTo>
                    <a:lnTo>
                      <a:pt x="43" y="138"/>
                    </a:lnTo>
                    <a:lnTo>
                      <a:pt x="47" y="138"/>
                    </a:lnTo>
                    <a:lnTo>
                      <a:pt x="47" y="138"/>
                    </a:lnTo>
                    <a:lnTo>
                      <a:pt x="49" y="138"/>
                    </a:lnTo>
                    <a:lnTo>
                      <a:pt x="53" y="135"/>
                    </a:lnTo>
                    <a:lnTo>
                      <a:pt x="55" y="133"/>
                    </a:lnTo>
                    <a:lnTo>
                      <a:pt x="56" y="129"/>
                    </a:lnTo>
                    <a:lnTo>
                      <a:pt x="56" y="62"/>
                    </a:lnTo>
                    <a:lnTo>
                      <a:pt x="88" y="62"/>
                    </a:lnTo>
                    <a:lnTo>
                      <a:pt x="88" y="62"/>
                    </a:lnTo>
                    <a:lnTo>
                      <a:pt x="90" y="62"/>
                    </a:lnTo>
                    <a:lnTo>
                      <a:pt x="91" y="60"/>
                    </a:lnTo>
                    <a:lnTo>
                      <a:pt x="92" y="59"/>
                    </a:lnTo>
                    <a:lnTo>
                      <a:pt x="92" y="58"/>
                    </a:lnTo>
                    <a:lnTo>
                      <a:pt x="92" y="5"/>
                    </a:lnTo>
                    <a:lnTo>
                      <a:pt x="92" y="5"/>
                    </a:lnTo>
                    <a:lnTo>
                      <a:pt x="92" y="4"/>
                    </a:lnTo>
                    <a:lnTo>
                      <a:pt x="91" y="1"/>
                    </a:lnTo>
                    <a:lnTo>
                      <a:pt x="90" y="0"/>
                    </a:lnTo>
                    <a:lnTo>
                      <a:pt x="88" y="0"/>
                    </a:lnTo>
                    <a:lnTo>
                      <a:pt x="8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ndParaRPr>
              </a:p>
            </p:txBody>
          </p:sp>
          <p:sp>
            <p:nvSpPr>
              <p:cNvPr id="95" name="Freeform 201">
                <a:extLst>
                  <a:ext uri="{FF2B5EF4-FFF2-40B4-BE49-F238E27FC236}">
                    <a16:creationId xmlns:a16="http://schemas.microsoft.com/office/drawing/2014/main" id="{112794AB-2A39-4508-B4FA-82C618E8FAEF}"/>
                  </a:ext>
                </a:extLst>
              </p:cNvPr>
              <p:cNvSpPr>
                <a:spLocks/>
              </p:cNvSpPr>
              <p:nvPr/>
            </p:nvSpPr>
            <p:spPr bwMode="auto">
              <a:xfrm>
                <a:off x="903288" y="5145723"/>
                <a:ext cx="14288" cy="138113"/>
              </a:xfrm>
              <a:custGeom>
                <a:avLst/>
                <a:gdLst>
                  <a:gd name="T0" fmla="*/ 19 w 19"/>
                  <a:gd name="T1" fmla="*/ 8 h 174"/>
                  <a:gd name="T2" fmla="*/ 19 w 19"/>
                  <a:gd name="T3" fmla="*/ 8 h 174"/>
                  <a:gd name="T4" fmla="*/ 18 w 19"/>
                  <a:gd name="T5" fmla="*/ 6 h 174"/>
                  <a:gd name="T6" fmla="*/ 17 w 19"/>
                  <a:gd name="T7" fmla="*/ 3 h 174"/>
                  <a:gd name="T8" fmla="*/ 14 w 19"/>
                  <a:gd name="T9" fmla="*/ 0 h 174"/>
                  <a:gd name="T10" fmla="*/ 10 w 19"/>
                  <a:gd name="T11" fmla="*/ 0 h 174"/>
                  <a:gd name="T12" fmla="*/ 10 w 19"/>
                  <a:gd name="T13" fmla="*/ 0 h 174"/>
                  <a:gd name="T14" fmla="*/ 6 w 19"/>
                  <a:gd name="T15" fmla="*/ 0 h 174"/>
                  <a:gd name="T16" fmla="*/ 3 w 19"/>
                  <a:gd name="T17" fmla="*/ 3 h 174"/>
                  <a:gd name="T18" fmla="*/ 2 w 19"/>
                  <a:gd name="T19" fmla="*/ 6 h 174"/>
                  <a:gd name="T20" fmla="*/ 0 w 19"/>
                  <a:gd name="T21" fmla="*/ 8 h 174"/>
                  <a:gd name="T22" fmla="*/ 0 w 19"/>
                  <a:gd name="T23" fmla="*/ 174 h 174"/>
                  <a:gd name="T24" fmla="*/ 19 w 19"/>
                  <a:gd name="T25" fmla="*/ 174 h 174"/>
                  <a:gd name="T26" fmla="*/ 19 w 19"/>
                  <a:gd name="T2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4">
                    <a:moveTo>
                      <a:pt x="19" y="8"/>
                    </a:moveTo>
                    <a:lnTo>
                      <a:pt x="19" y="8"/>
                    </a:lnTo>
                    <a:lnTo>
                      <a:pt x="18" y="6"/>
                    </a:lnTo>
                    <a:lnTo>
                      <a:pt x="17" y="3"/>
                    </a:lnTo>
                    <a:lnTo>
                      <a:pt x="14" y="0"/>
                    </a:lnTo>
                    <a:lnTo>
                      <a:pt x="10" y="0"/>
                    </a:lnTo>
                    <a:lnTo>
                      <a:pt x="10" y="0"/>
                    </a:lnTo>
                    <a:lnTo>
                      <a:pt x="6" y="0"/>
                    </a:lnTo>
                    <a:lnTo>
                      <a:pt x="3" y="3"/>
                    </a:lnTo>
                    <a:lnTo>
                      <a:pt x="2" y="6"/>
                    </a:lnTo>
                    <a:lnTo>
                      <a:pt x="0" y="8"/>
                    </a:lnTo>
                    <a:lnTo>
                      <a:pt x="0" y="174"/>
                    </a:lnTo>
                    <a:lnTo>
                      <a:pt x="19" y="174"/>
                    </a:lnTo>
                    <a:lnTo>
                      <a:pt x="1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ndParaRPr>
              </a:p>
            </p:txBody>
          </p:sp>
          <p:sp>
            <p:nvSpPr>
              <p:cNvPr id="96" name="Freeform 202">
                <a:extLst>
                  <a:ext uri="{FF2B5EF4-FFF2-40B4-BE49-F238E27FC236}">
                    <a16:creationId xmlns:a16="http://schemas.microsoft.com/office/drawing/2014/main" id="{2159707A-E3CA-4D87-8248-4F03B7F7113B}"/>
                  </a:ext>
                </a:extLst>
              </p:cNvPr>
              <p:cNvSpPr>
                <a:spLocks/>
              </p:cNvSpPr>
              <p:nvPr/>
            </p:nvSpPr>
            <p:spPr bwMode="auto">
              <a:xfrm>
                <a:off x="874713" y="5296535"/>
                <a:ext cx="73025" cy="109538"/>
              </a:xfrm>
              <a:custGeom>
                <a:avLst/>
                <a:gdLst>
                  <a:gd name="T0" fmla="*/ 88 w 93"/>
                  <a:gd name="T1" fmla="*/ 0 h 138"/>
                  <a:gd name="T2" fmla="*/ 4 w 93"/>
                  <a:gd name="T3" fmla="*/ 0 h 138"/>
                  <a:gd name="T4" fmla="*/ 4 w 93"/>
                  <a:gd name="T5" fmla="*/ 0 h 138"/>
                  <a:gd name="T6" fmla="*/ 3 w 93"/>
                  <a:gd name="T7" fmla="*/ 0 h 138"/>
                  <a:gd name="T8" fmla="*/ 2 w 93"/>
                  <a:gd name="T9" fmla="*/ 1 h 138"/>
                  <a:gd name="T10" fmla="*/ 0 w 93"/>
                  <a:gd name="T11" fmla="*/ 4 h 138"/>
                  <a:gd name="T12" fmla="*/ 0 w 93"/>
                  <a:gd name="T13" fmla="*/ 5 h 138"/>
                  <a:gd name="T14" fmla="*/ 0 w 93"/>
                  <a:gd name="T15" fmla="*/ 58 h 138"/>
                  <a:gd name="T16" fmla="*/ 0 w 93"/>
                  <a:gd name="T17" fmla="*/ 58 h 138"/>
                  <a:gd name="T18" fmla="*/ 0 w 93"/>
                  <a:gd name="T19" fmla="*/ 59 h 138"/>
                  <a:gd name="T20" fmla="*/ 2 w 93"/>
                  <a:gd name="T21" fmla="*/ 60 h 138"/>
                  <a:gd name="T22" fmla="*/ 3 w 93"/>
                  <a:gd name="T23" fmla="*/ 62 h 138"/>
                  <a:gd name="T24" fmla="*/ 4 w 93"/>
                  <a:gd name="T25" fmla="*/ 62 h 138"/>
                  <a:gd name="T26" fmla="*/ 36 w 93"/>
                  <a:gd name="T27" fmla="*/ 62 h 138"/>
                  <a:gd name="T28" fmla="*/ 36 w 93"/>
                  <a:gd name="T29" fmla="*/ 129 h 138"/>
                  <a:gd name="T30" fmla="*/ 36 w 93"/>
                  <a:gd name="T31" fmla="*/ 129 h 138"/>
                  <a:gd name="T32" fmla="*/ 38 w 93"/>
                  <a:gd name="T33" fmla="*/ 133 h 138"/>
                  <a:gd name="T34" fmla="*/ 39 w 93"/>
                  <a:gd name="T35" fmla="*/ 135 h 138"/>
                  <a:gd name="T36" fmla="*/ 42 w 93"/>
                  <a:gd name="T37" fmla="*/ 138 h 138"/>
                  <a:gd name="T38" fmla="*/ 46 w 93"/>
                  <a:gd name="T39" fmla="*/ 138 h 138"/>
                  <a:gd name="T40" fmla="*/ 46 w 93"/>
                  <a:gd name="T41" fmla="*/ 138 h 138"/>
                  <a:gd name="T42" fmla="*/ 50 w 93"/>
                  <a:gd name="T43" fmla="*/ 138 h 138"/>
                  <a:gd name="T44" fmla="*/ 53 w 93"/>
                  <a:gd name="T45" fmla="*/ 135 h 138"/>
                  <a:gd name="T46" fmla="*/ 54 w 93"/>
                  <a:gd name="T47" fmla="*/ 133 h 138"/>
                  <a:gd name="T48" fmla="*/ 55 w 93"/>
                  <a:gd name="T49" fmla="*/ 129 h 138"/>
                  <a:gd name="T50" fmla="*/ 55 w 93"/>
                  <a:gd name="T51" fmla="*/ 62 h 138"/>
                  <a:gd name="T52" fmla="*/ 88 w 93"/>
                  <a:gd name="T53" fmla="*/ 62 h 138"/>
                  <a:gd name="T54" fmla="*/ 88 w 93"/>
                  <a:gd name="T55" fmla="*/ 62 h 138"/>
                  <a:gd name="T56" fmla="*/ 89 w 93"/>
                  <a:gd name="T57" fmla="*/ 62 h 138"/>
                  <a:gd name="T58" fmla="*/ 92 w 93"/>
                  <a:gd name="T59" fmla="*/ 60 h 138"/>
                  <a:gd name="T60" fmla="*/ 93 w 93"/>
                  <a:gd name="T61" fmla="*/ 59 h 138"/>
                  <a:gd name="T62" fmla="*/ 93 w 93"/>
                  <a:gd name="T63" fmla="*/ 58 h 138"/>
                  <a:gd name="T64" fmla="*/ 93 w 93"/>
                  <a:gd name="T65" fmla="*/ 5 h 138"/>
                  <a:gd name="T66" fmla="*/ 93 w 93"/>
                  <a:gd name="T67" fmla="*/ 5 h 138"/>
                  <a:gd name="T68" fmla="*/ 93 w 93"/>
                  <a:gd name="T69" fmla="*/ 4 h 138"/>
                  <a:gd name="T70" fmla="*/ 92 w 93"/>
                  <a:gd name="T71" fmla="*/ 1 h 138"/>
                  <a:gd name="T72" fmla="*/ 89 w 93"/>
                  <a:gd name="T73" fmla="*/ 0 h 138"/>
                  <a:gd name="T74" fmla="*/ 88 w 93"/>
                  <a:gd name="T75" fmla="*/ 0 h 138"/>
                  <a:gd name="T76" fmla="*/ 88 w 93"/>
                  <a:gd name="T7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8">
                    <a:moveTo>
                      <a:pt x="88" y="0"/>
                    </a:moveTo>
                    <a:lnTo>
                      <a:pt x="4" y="0"/>
                    </a:lnTo>
                    <a:lnTo>
                      <a:pt x="4" y="0"/>
                    </a:lnTo>
                    <a:lnTo>
                      <a:pt x="3" y="0"/>
                    </a:lnTo>
                    <a:lnTo>
                      <a:pt x="2" y="1"/>
                    </a:lnTo>
                    <a:lnTo>
                      <a:pt x="0" y="4"/>
                    </a:lnTo>
                    <a:lnTo>
                      <a:pt x="0" y="5"/>
                    </a:lnTo>
                    <a:lnTo>
                      <a:pt x="0" y="58"/>
                    </a:lnTo>
                    <a:lnTo>
                      <a:pt x="0" y="58"/>
                    </a:lnTo>
                    <a:lnTo>
                      <a:pt x="0" y="59"/>
                    </a:lnTo>
                    <a:lnTo>
                      <a:pt x="2" y="60"/>
                    </a:lnTo>
                    <a:lnTo>
                      <a:pt x="3" y="62"/>
                    </a:lnTo>
                    <a:lnTo>
                      <a:pt x="4" y="62"/>
                    </a:lnTo>
                    <a:lnTo>
                      <a:pt x="36" y="62"/>
                    </a:lnTo>
                    <a:lnTo>
                      <a:pt x="36" y="129"/>
                    </a:lnTo>
                    <a:lnTo>
                      <a:pt x="36" y="129"/>
                    </a:lnTo>
                    <a:lnTo>
                      <a:pt x="38" y="133"/>
                    </a:lnTo>
                    <a:lnTo>
                      <a:pt x="39" y="135"/>
                    </a:lnTo>
                    <a:lnTo>
                      <a:pt x="42" y="138"/>
                    </a:lnTo>
                    <a:lnTo>
                      <a:pt x="46" y="138"/>
                    </a:lnTo>
                    <a:lnTo>
                      <a:pt x="46" y="138"/>
                    </a:lnTo>
                    <a:lnTo>
                      <a:pt x="50" y="138"/>
                    </a:lnTo>
                    <a:lnTo>
                      <a:pt x="53" y="135"/>
                    </a:lnTo>
                    <a:lnTo>
                      <a:pt x="54" y="133"/>
                    </a:lnTo>
                    <a:lnTo>
                      <a:pt x="55" y="129"/>
                    </a:lnTo>
                    <a:lnTo>
                      <a:pt x="55" y="62"/>
                    </a:lnTo>
                    <a:lnTo>
                      <a:pt x="88" y="62"/>
                    </a:lnTo>
                    <a:lnTo>
                      <a:pt x="88" y="62"/>
                    </a:lnTo>
                    <a:lnTo>
                      <a:pt x="89" y="62"/>
                    </a:lnTo>
                    <a:lnTo>
                      <a:pt x="92" y="60"/>
                    </a:lnTo>
                    <a:lnTo>
                      <a:pt x="93" y="59"/>
                    </a:lnTo>
                    <a:lnTo>
                      <a:pt x="93" y="58"/>
                    </a:lnTo>
                    <a:lnTo>
                      <a:pt x="93" y="5"/>
                    </a:lnTo>
                    <a:lnTo>
                      <a:pt x="93" y="5"/>
                    </a:lnTo>
                    <a:lnTo>
                      <a:pt x="93" y="4"/>
                    </a:lnTo>
                    <a:lnTo>
                      <a:pt x="92" y="1"/>
                    </a:lnTo>
                    <a:lnTo>
                      <a:pt x="89" y="0"/>
                    </a:lnTo>
                    <a:lnTo>
                      <a:pt x="88" y="0"/>
                    </a:lnTo>
                    <a:lnTo>
                      <a:pt x="8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ndParaRPr>
              </a:p>
            </p:txBody>
          </p:sp>
          <p:sp>
            <p:nvSpPr>
              <p:cNvPr id="97" name="Freeform 203">
                <a:extLst>
                  <a:ext uri="{FF2B5EF4-FFF2-40B4-BE49-F238E27FC236}">
                    <a16:creationId xmlns:a16="http://schemas.microsoft.com/office/drawing/2014/main" id="{30D724A1-D510-44DD-8E90-A56377D1F29F}"/>
                  </a:ext>
                </a:extLst>
              </p:cNvPr>
              <p:cNvSpPr>
                <a:spLocks/>
              </p:cNvSpPr>
              <p:nvPr/>
            </p:nvSpPr>
            <p:spPr bwMode="auto">
              <a:xfrm>
                <a:off x="812801" y="5267960"/>
                <a:ext cx="14288" cy="138113"/>
              </a:xfrm>
              <a:custGeom>
                <a:avLst/>
                <a:gdLst>
                  <a:gd name="T0" fmla="*/ 0 w 17"/>
                  <a:gd name="T1" fmla="*/ 164 h 173"/>
                  <a:gd name="T2" fmla="*/ 0 w 17"/>
                  <a:gd name="T3" fmla="*/ 164 h 173"/>
                  <a:gd name="T4" fmla="*/ 0 w 17"/>
                  <a:gd name="T5" fmla="*/ 168 h 173"/>
                  <a:gd name="T6" fmla="*/ 2 w 17"/>
                  <a:gd name="T7" fmla="*/ 170 h 173"/>
                  <a:gd name="T8" fmla="*/ 5 w 17"/>
                  <a:gd name="T9" fmla="*/ 173 h 173"/>
                  <a:gd name="T10" fmla="*/ 8 w 17"/>
                  <a:gd name="T11" fmla="*/ 173 h 173"/>
                  <a:gd name="T12" fmla="*/ 8 w 17"/>
                  <a:gd name="T13" fmla="*/ 173 h 173"/>
                  <a:gd name="T14" fmla="*/ 12 w 17"/>
                  <a:gd name="T15" fmla="*/ 173 h 173"/>
                  <a:gd name="T16" fmla="*/ 14 w 17"/>
                  <a:gd name="T17" fmla="*/ 170 h 173"/>
                  <a:gd name="T18" fmla="*/ 17 w 17"/>
                  <a:gd name="T19" fmla="*/ 168 h 173"/>
                  <a:gd name="T20" fmla="*/ 17 w 17"/>
                  <a:gd name="T21" fmla="*/ 164 h 173"/>
                  <a:gd name="T22" fmla="*/ 17 w 17"/>
                  <a:gd name="T23" fmla="*/ 0 h 173"/>
                  <a:gd name="T24" fmla="*/ 0 w 17"/>
                  <a:gd name="T25" fmla="*/ 0 h 173"/>
                  <a:gd name="T26" fmla="*/ 0 w 17"/>
                  <a:gd name="T27" fmla="*/ 16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73">
                    <a:moveTo>
                      <a:pt x="0" y="164"/>
                    </a:moveTo>
                    <a:lnTo>
                      <a:pt x="0" y="164"/>
                    </a:lnTo>
                    <a:lnTo>
                      <a:pt x="0" y="168"/>
                    </a:lnTo>
                    <a:lnTo>
                      <a:pt x="2" y="170"/>
                    </a:lnTo>
                    <a:lnTo>
                      <a:pt x="5" y="173"/>
                    </a:lnTo>
                    <a:lnTo>
                      <a:pt x="8" y="173"/>
                    </a:lnTo>
                    <a:lnTo>
                      <a:pt x="8" y="173"/>
                    </a:lnTo>
                    <a:lnTo>
                      <a:pt x="12" y="173"/>
                    </a:lnTo>
                    <a:lnTo>
                      <a:pt x="14" y="170"/>
                    </a:lnTo>
                    <a:lnTo>
                      <a:pt x="17" y="168"/>
                    </a:lnTo>
                    <a:lnTo>
                      <a:pt x="17" y="164"/>
                    </a:lnTo>
                    <a:lnTo>
                      <a:pt x="17" y="0"/>
                    </a:lnTo>
                    <a:lnTo>
                      <a:pt x="0" y="0"/>
                    </a:lnTo>
                    <a:lnTo>
                      <a:pt x="0" y="1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ndParaRPr>
              </a:p>
            </p:txBody>
          </p:sp>
          <p:sp>
            <p:nvSpPr>
              <p:cNvPr id="98" name="Freeform 204">
                <a:extLst>
                  <a:ext uri="{FF2B5EF4-FFF2-40B4-BE49-F238E27FC236}">
                    <a16:creationId xmlns:a16="http://schemas.microsoft.com/office/drawing/2014/main" id="{003C86B2-500F-4F8E-A020-399CC39FF3CB}"/>
                  </a:ext>
                </a:extLst>
              </p:cNvPr>
              <p:cNvSpPr>
                <a:spLocks/>
              </p:cNvSpPr>
              <p:nvPr/>
            </p:nvSpPr>
            <p:spPr bwMode="auto">
              <a:xfrm>
                <a:off x="782638" y="5145723"/>
                <a:ext cx="74613" cy="109538"/>
              </a:xfrm>
              <a:custGeom>
                <a:avLst/>
                <a:gdLst>
                  <a:gd name="T0" fmla="*/ 87 w 93"/>
                  <a:gd name="T1" fmla="*/ 75 h 139"/>
                  <a:gd name="T2" fmla="*/ 55 w 93"/>
                  <a:gd name="T3" fmla="*/ 75 h 139"/>
                  <a:gd name="T4" fmla="*/ 55 w 93"/>
                  <a:gd name="T5" fmla="*/ 8 h 139"/>
                  <a:gd name="T6" fmla="*/ 55 w 93"/>
                  <a:gd name="T7" fmla="*/ 8 h 139"/>
                  <a:gd name="T8" fmla="*/ 55 w 93"/>
                  <a:gd name="T9" fmla="*/ 6 h 139"/>
                  <a:gd name="T10" fmla="*/ 52 w 93"/>
                  <a:gd name="T11" fmla="*/ 3 h 139"/>
                  <a:gd name="T12" fmla="*/ 50 w 93"/>
                  <a:gd name="T13" fmla="*/ 0 h 139"/>
                  <a:gd name="T14" fmla="*/ 46 w 93"/>
                  <a:gd name="T15" fmla="*/ 0 h 139"/>
                  <a:gd name="T16" fmla="*/ 46 w 93"/>
                  <a:gd name="T17" fmla="*/ 0 h 139"/>
                  <a:gd name="T18" fmla="*/ 43 w 93"/>
                  <a:gd name="T19" fmla="*/ 0 h 139"/>
                  <a:gd name="T20" fmla="*/ 40 w 93"/>
                  <a:gd name="T21" fmla="*/ 3 h 139"/>
                  <a:gd name="T22" fmla="*/ 38 w 93"/>
                  <a:gd name="T23" fmla="*/ 6 h 139"/>
                  <a:gd name="T24" fmla="*/ 38 w 93"/>
                  <a:gd name="T25" fmla="*/ 8 h 139"/>
                  <a:gd name="T26" fmla="*/ 38 w 93"/>
                  <a:gd name="T27" fmla="*/ 75 h 139"/>
                  <a:gd name="T28" fmla="*/ 5 w 93"/>
                  <a:gd name="T29" fmla="*/ 75 h 139"/>
                  <a:gd name="T30" fmla="*/ 5 w 93"/>
                  <a:gd name="T31" fmla="*/ 75 h 139"/>
                  <a:gd name="T32" fmla="*/ 3 w 93"/>
                  <a:gd name="T33" fmla="*/ 77 h 139"/>
                  <a:gd name="T34" fmla="*/ 1 w 93"/>
                  <a:gd name="T35" fmla="*/ 78 h 139"/>
                  <a:gd name="T36" fmla="*/ 0 w 93"/>
                  <a:gd name="T37" fmla="*/ 80 h 139"/>
                  <a:gd name="T38" fmla="*/ 0 w 93"/>
                  <a:gd name="T39" fmla="*/ 81 h 139"/>
                  <a:gd name="T40" fmla="*/ 0 w 93"/>
                  <a:gd name="T41" fmla="*/ 133 h 139"/>
                  <a:gd name="T42" fmla="*/ 0 w 93"/>
                  <a:gd name="T43" fmla="*/ 133 h 139"/>
                  <a:gd name="T44" fmla="*/ 0 w 93"/>
                  <a:gd name="T45" fmla="*/ 135 h 139"/>
                  <a:gd name="T46" fmla="*/ 1 w 93"/>
                  <a:gd name="T47" fmla="*/ 137 h 139"/>
                  <a:gd name="T48" fmla="*/ 3 w 93"/>
                  <a:gd name="T49" fmla="*/ 137 h 139"/>
                  <a:gd name="T50" fmla="*/ 5 w 93"/>
                  <a:gd name="T51" fmla="*/ 139 h 139"/>
                  <a:gd name="T52" fmla="*/ 87 w 93"/>
                  <a:gd name="T53" fmla="*/ 139 h 139"/>
                  <a:gd name="T54" fmla="*/ 87 w 93"/>
                  <a:gd name="T55" fmla="*/ 139 h 139"/>
                  <a:gd name="T56" fmla="*/ 90 w 93"/>
                  <a:gd name="T57" fmla="*/ 137 h 139"/>
                  <a:gd name="T58" fmla="*/ 91 w 93"/>
                  <a:gd name="T59" fmla="*/ 137 h 139"/>
                  <a:gd name="T60" fmla="*/ 93 w 93"/>
                  <a:gd name="T61" fmla="*/ 135 h 139"/>
                  <a:gd name="T62" fmla="*/ 93 w 93"/>
                  <a:gd name="T63" fmla="*/ 133 h 139"/>
                  <a:gd name="T64" fmla="*/ 93 w 93"/>
                  <a:gd name="T65" fmla="*/ 81 h 139"/>
                  <a:gd name="T66" fmla="*/ 93 w 93"/>
                  <a:gd name="T67" fmla="*/ 81 h 139"/>
                  <a:gd name="T68" fmla="*/ 93 w 93"/>
                  <a:gd name="T69" fmla="*/ 80 h 139"/>
                  <a:gd name="T70" fmla="*/ 91 w 93"/>
                  <a:gd name="T71" fmla="*/ 78 h 139"/>
                  <a:gd name="T72" fmla="*/ 90 w 93"/>
                  <a:gd name="T73" fmla="*/ 77 h 139"/>
                  <a:gd name="T74" fmla="*/ 87 w 93"/>
                  <a:gd name="T75" fmla="*/ 75 h 139"/>
                  <a:gd name="T76" fmla="*/ 87 w 93"/>
                  <a:gd name="T77" fmla="*/ 7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139">
                    <a:moveTo>
                      <a:pt x="87" y="75"/>
                    </a:moveTo>
                    <a:lnTo>
                      <a:pt x="55" y="75"/>
                    </a:lnTo>
                    <a:lnTo>
                      <a:pt x="55" y="8"/>
                    </a:lnTo>
                    <a:lnTo>
                      <a:pt x="55" y="8"/>
                    </a:lnTo>
                    <a:lnTo>
                      <a:pt x="55" y="6"/>
                    </a:lnTo>
                    <a:lnTo>
                      <a:pt x="52" y="3"/>
                    </a:lnTo>
                    <a:lnTo>
                      <a:pt x="50" y="0"/>
                    </a:lnTo>
                    <a:lnTo>
                      <a:pt x="46" y="0"/>
                    </a:lnTo>
                    <a:lnTo>
                      <a:pt x="46" y="0"/>
                    </a:lnTo>
                    <a:lnTo>
                      <a:pt x="43" y="0"/>
                    </a:lnTo>
                    <a:lnTo>
                      <a:pt x="40" y="3"/>
                    </a:lnTo>
                    <a:lnTo>
                      <a:pt x="38" y="6"/>
                    </a:lnTo>
                    <a:lnTo>
                      <a:pt x="38" y="8"/>
                    </a:lnTo>
                    <a:lnTo>
                      <a:pt x="38" y="75"/>
                    </a:lnTo>
                    <a:lnTo>
                      <a:pt x="5" y="75"/>
                    </a:lnTo>
                    <a:lnTo>
                      <a:pt x="5" y="75"/>
                    </a:lnTo>
                    <a:lnTo>
                      <a:pt x="3" y="77"/>
                    </a:lnTo>
                    <a:lnTo>
                      <a:pt x="1" y="78"/>
                    </a:lnTo>
                    <a:lnTo>
                      <a:pt x="0" y="80"/>
                    </a:lnTo>
                    <a:lnTo>
                      <a:pt x="0" y="81"/>
                    </a:lnTo>
                    <a:lnTo>
                      <a:pt x="0" y="133"/>
                    </a:lnTo>
                    <a:lnTo>
                      <a:pt x="0" y="133"/>
                    </a:lnTo>
                    <a:lnTo>
                      <a:pt x="0" y="135"/>
                    </a:lnTo>
                    <a:lnTo>
                      <a:pt x="1" y="137"/>
                    </a:lnTo>
                    <a:lnTo>
                      <a:pt x="3" y="137"/>
                    </a:lnTo>
                    <a:lnTo>
                      <a:pt x="5" y="139"/>
                    </a:lnTo>
                    <a:lnTo>
                      <a:pt x="87" y="139"/>
                    </a:lnTo>
                    <a:lnTo>
                      <a:pt x="87" y="139"/>
                    </a:lnTo>
                    <a:lnTo>
                      <a:pt x="90" y="137"/>
                    </a:lnTo>
                    <a:lnTo>
                      <a:pt x="91" y="137"/>
                    </a:lnTo>
                    <a:lnTo>
                      <a:pt x="93" y="135"/>
                    </a:lnTo>
                    <a:lnTo>
                      <a:pt x="93" y="133"/>
                    </a:lnTo>
                    <a:lnTo>
                      <a:pt x="93" y="81"/>
                    </a:lnTo>
                    <a:lnTo>
                      <a:pt x="93" y="81"/>
                    </a:lnTo>
                    <a:lnTo>
                      <a:pt x="93" y="80"/>
                    </a:lnTo>
                    <a:lnTo>
                      <a:pt x="91" y="78"/>
                    </a:lnTo>
                    <a:lnTo>
                      <a:pt x="90" y="77"/>
                    </a:lnTo>
                    <a:lnTo>
                      <a:pt x="87" y="75"/>
                    </a:lnTo>
                    <a:lnTo>
                      <a:pt x="87"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Open Sans"/>
                </a:endParaRPr>
              </a:p>
            </p:txBody>
          </p:sp>
        </p:grpSp>
        <p:grpSp>
          <p:nvGrpSpPr>
            <p:cNvPr id="90" name="Group 89">
              <a:extLst>
                <a:ext uri="{FF2B5EF4-FFF2-40B4-BE49-F238E27FC236}">
                  <a16:creationId xmlns:a16="http://schemas.microsoft.com/office/drawing/2014/main" id="{F9FC4FE3-DCF9-423F-9DBF-375681C9E86A}"/>
                </a:ext>
              </a:extLst>
            </p:cNvPr>
            <p:cNvGrpSpPr>
              <a:grpSpLocks noChangeAspect="1"/>
            </p:cNvGrpSpPr>
            <p:nvPr/>
          </p:nvGrpSpPr>
          <p:grpSpPr>
            <a:xfrm>
              <a:off x="5038122" y="2814343"/>
              <a:ext cx="710153" cy="713232"/>
              <a:chOff x="12216425" y="429331"/>
              <a:chExt cx="1510323" cy="1600239"/>
            </a:xfrm>
          </p:grpSpPr>
          <p:sp>
            <p:nvSpPr>
              <p:cNvPr id="91" name="Arc 90">
                <a:extLst>
                  <a:ext uri="{FF2B5EF4-FFF2-40B4-BE49-F238E27FC236}">
                    <a16:creationId xmlns:a16="http://schemas.microsoft.com/office/drawing/2014/main" id="{9357B3CA-CD6E-4FDE-AA02-745132D31991}"/>
                  </a:ext>
                </a:extLst>
              </p:cNvPr>
              <p:cNvSpPr/>
              <p:nvPr/>
            </p:nvSpPr>
            <p:spPr>
              <a:xfrm>
                <a:off x="12216425" y="429331"/>
                <a:ext cx="1510323" cy="1600239"/>
              </a:xfrm>
              <a:prstGeom prst="arc">
                <a:avLst>
                  <a:gd name="adj1" fmla="val 17163472"/>
                  <a:gd name="adj2" fmla="val 6137139"/>
                </a:avLst>
              </a:prstGeom>
              <a:noFill/>
              <a:ln w="25400" cap="flat" cmpd="sng" algn="ctr">
                <a:solidFill>
                  <a:srgbClr val="34F0FF">
                    <a:lumMod val="75000"/>
                  </a:srgbClr>
                </a:solidFill>
                <a:prstDash val="solid"/>
                <a:miter lim="800000"/>
                <a:headEnd type="none" w="lg" len="lg"/>
                <a:tailEnd type="arrow"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sp>
            <p:nvSpPr>
              <p:cNvPr id="92" name="Arc 91">
                <a:extLst>
                  <a:ext uri="{FF2B5EF4-FFF2-40B4-BE49-F238E27FC236}">
                    <a16:creationId xmlns:a16="http://schemas.microsoft.com/office/drawing/2014/main" id="{8E8B0EE4-C4BF-4270-9C1B-C646257B2393}"/>
                  </a:ext>
                </a:extLst>
              </p:cNvPr>
              <p:cNvSpPr/>
              <p:nvPr/>
            </p:nvSpPr>
            <p:spPr>
              <a:xfrm>
                <a:off x="12216425" y="429331"/>
                <a:ext cx="1510323" cy="1600239"/>
              </a:xfrm>
              <a:prstGeom prst="arc">
                <a:avLst>
                  <a:gd name="adj1" fmla="val 6540982"/>
                  <a:gd name="adj2" fmla="val 16779209"/>
                </a:avLst>
              </a:prstGeom>
              <a:noFill/>
              <a:ln w="25400" cap="flat" cmpd="sng" algn="ctr">
                <a:solidFill>
                  <a:srgbClr val="86F200"/>
                </a:solidFill>
                <a:prstDash val="solid"/>
                <a:miter lim="800000"/>
                <a:headEnd type="none" w="lg" len="lg"/>
                <a:tailEnd type="arrow" w="lg"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C5C5C"/>
                  </a:solidFill>
                  <a:effectLst/>
                  <a:uLnTx/>
                  <a:uFillTx/>
                  <a:latin typeface="Open Sans"/>
                  <a:ea typeface="+mn-ea"/>
                  <a:cs typeface="+mn-cs"/>
                </a:endParaRPr>
              </a:p>
            </p:txBody>
          </p:sp>
        </p:grpSp>
      </p:grpSp>
      <p:sp>
        <p:nvSpPr>
          <p:cNvPr id="99" name="Content Placeholder 8">
            <a:extLst>
              <a:ext uri="{FF2B5EF4-FFF2-40B4-BE49-F238E27FC236}">
                <a16:creationId xmlns:a16="http://schemas.microsoft.com/office/drawing/2014/main" id="{ECA18C62-6A25-4F71-9814-44A609003685}"/>
              </a:ext>
            </a:extLst>
          </p:cNvPr>
          <p:cNvSpPr txBox="1">
            <a:spLocks/>
          </p:cNvSpPr>
          <p:nvPr/>
        </p:nvSpPr>
        <p:spPr>
          <a:xfrm>
            <a:off x="6721785" y="2485209"/>
            <a:ext cx="4958591" cy="4100652"/>
          </a:xfrm>
          <a:prstGeom prst="rect">
            <a:avLst/>
          </a:prstGeom>
          <a:ln>
            <a:solidFill>
              <a:srgbClr val="FFFFFF"/>
            </a:solidFill>
          </a:ln>
        </p:spPr>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600"/>
              </a:spcBef>
              <a:spcAft>
                <a:spcPts val="600"/>
              </a:spcAft>
              <a:buClr>
                <a:srgbClr val="787878"/>
              </a:buClr>
              <a:buSzPct val="75000"/>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Based on the use case selected, determine which </a:t>
            </a:r>
            <a:r>
              <a:rPr kumimoji="0" lang="en-US" sz="1200" b="1" i="0" u="none" strike="noStrike" kern="1200" cap="none" spc="0" normalizeH="0" baseline="0" noProof="0" dirty="0">
                <a:ln>
                  <a:noFill/>
                </a:ln>
                <a:solidFill>
                  <a:srgbClr val="000000"/>
                </a:solidFill>
                <a:effectLst/>
                <a:uLnTx/>
                <a:uFillTx/>
                <a:latin typeface="Open Sans"/>
                <a:ea typeface="+mn-ea"/>
                <a:cs typeface="+mn-cs"/>
              </a:rPr>
              <a:t>channel</a:t>
            </a:r>
            <a:r>
              <a:rPr kumimoji="0" lang="en-US" sz="1200" b="0" i="0" u="none" strike="noStrike" kern="1200" cap="none" spc="0" normalizeH="0" baseline="0" noProof="0" dirty="0">
                <a:ln>
                  <a:noFill/>
                </a:ln>
                <a:solidFill>
                  <a:srgbClr val="000000"/>
                </a:solidFill>
                <a:effectLst/>
                <a:uLnTx/>
                <a:uFillTx/>
                <a:latin typeface="Open Sans"/>
                <a:ea typeface="+mn-ea"/>
                <a:cs typeface="+mn-cs"/>
              </a:rPr>
              <a:t> you need to focus your current development efforts on</a:t>
            </a:r>
          </a:p>
          <a:p>
            <a:pPr marL="742950" marR="0" lvl="1" indent="-285750" algn="l" defTabSz="914400" rtl="0" eaLnBrk="1" fontAlgn="auto" latinLnBrk="0" hangingPunct="1">
              <a:lnSpc>
                <a:spcPct val="100000"/>
              </a:lnSpc>
              <a:spcBef>
                <a:spcPts val="600"/>
              </a:spcBef>
              <a:spcAft>
                <a:spcPts val="600"/>
              </a:spcAft>
              <a:buClr>
                <a:srgbClr val="787878"/>
              </a:buClr>
              <a:buSzPct val="75000"/>
              <a:buFont typeface="Wingdings" panose="05000000000000000000" pitchFamily="2" charset="2"/>
              <a:buChar char="§"/>
              <a:tabLst/>
              <a:defRPr/>
            </a:pPr>
            <a:r>
              <a:rPr kumimoji="0" lang="en-US" sz="1000" b="1" i="0" u="none" strike="noStrike" kern="1200" cap="none" spc="0" normalizeH="0" baseline="0" noProof="0" dirty="0">
                <a:ln>
                  <a:noFill/>
                </a:ln>
                <a:solidFill>
                  <a:srgbClr val="000000"/>
                </a:solidFill>
                <a:effectLst/>
                <a:uLnTx/>
                <a:uFillTx/>
                <a:latin typeface="Open Sans"/>
                <a:ea typeface="+mn-ea"/>
                <a:cs typeface="+mn-cs"/>
              </a:rPr>
              <a:t>Web</a:t>
            </a:r>
          </a:p>
          <a:p>
            <a:pPr marL="1143000" marR="0" lvl="2" indent="-228600" algn="l" defTabSz="914400" rtl="0" eaLnBrk="1" fontAlgn="auto" latinLnBrk="0" hangingPunct="1">
              <a:lnSpc>
                <a:spcPct val="107000"/>
              </a:lnSpc>
              <a:spcBef>
                <a:spcPts val="500"/>
              </a:spcBef>
              <a:spcAft>
                <a:spcPts val="0"/>
              </a:spcAft>
              <a:buClr>
                <a:srgbClr val="787878"/>
              </a:buClr>
              <a:buSzPct val="75000"/>
              <a:buFont typeface="Symbol" panose="05050102010706020507" pitchFamily="18" charset="2"/>
              <a:buChar char=""/>
              <a:tabLst/>
              <a:defRPr/>
            </a:pPr>
            <a:r>
              <a:rPr kumimoji="0" lang="en-US" sz="1000" b="0" i="0" u="none" strike="noStrike" kern="1200" cap="none" spc="0" normalizeH="0" baseline="0" noProof="0" dirty="0">
                <a:ln>
                  <a:noFill/>
                </a:ln>
                <a:solidFill>
                  <a:srgbClr val="000000"/>
                </a:solidFill>
                <a:effectLst/>
                <a:uLnTx/>
                <a:uFillTx/>
                <a:latin typeface="Open Sans" charset="0"/>
                <a:ea typeface="Open Sans" charset="0"/>
                <a:cs typeface="Open Sans" charset="0"/>
              </a:rPr>
              <a:t>What type of data do you need to capture from the site? (sitemap)</a:t>
            </a:r>
          </a:p>
          <a:p>
            <a:pPr marL="1143000" marR="0" lvl="2" indent="-228600" algn="l" defTabSz="914400" rtl="0" eaLnBrk="1" fontAlgn="auto" latinLnBrk="0" hangingPunct="1">
              <a:lnSpc>
                <a:spcPct val="107000"/>
              </a:lnSpc>
              <a:spcBef>
                <a:spcPts val="500"/>
              </a:spcBef>
              <a:spcAft>
                <a:spcPts val="0"/>
              </a:spcAft>
              <a:buClr>
                <a:srgbClr val="787878"/>
              </a:buClr>
              <a:buSzPct val="75000"/>
              <a:buFont typeface="Symbol" panose="05050102010706020507" pitchFamily="18" charset="2"/>
              <a:buChar char=""/>
              <a:tabLst/>
              <a:defRPr/>
            </a:pPr>
            <a:r>
              <a:rPr kumimoji="0" lang="en-US" sz="1000" b="0" i="0" u="none" strike="noStrike" kern="1200" cap="none" spc="0" normalizeH="0" baseline="0" noProof="0" dirty="0">
                <a:ln>
                  <a:noFill/>
                </a:ln>
                <a:solidFill>
                  <a:srgbClr val="000000"/>
                </a:solidFill>
                <a:effectLst/>
                <a:uLnTx/>
                <a:uFillTx/>
                <a:latin typeface="Open Sans" charset="0"/>
                <a:ea typeface="Open Sans" charset="0"/>
                <a:cs typeface="Open Sans" charset="0"/>
              </a:rPr>
              <a:t>What type of data do you want to track for the user? (UCP)</a:t>
            </a:r>
          </a:p>
          <a:p>
            <a:pPr marL="742950" marR="0" lvl="1" indent="-285750" algn="l" defTabSz="914400" rtl="0" eaLnBrk="1" fontAlgn="auto" latinLnBrk="0" hangingPunct="1">
              <a:lnSpc>
                <a:spcPct val="100000"/>
              </a:lnSpc>
              <a:spcBef>
                <a:spcPts val="600"/>
              </a:spcBef>
              <a:spcAft>
                <a:spcPts val="600"/>
              </a:spcAft>
              <a:buClr>
                <a:srgbClr val="787878"/>
              </a:buClr>
              <a:buSzPct val="75000"/>
              <a:buFont typeface="Wingdings" panose="05000000000000000000" pitchFamily="2" charset="2"/>
              <a:buChar char="§"/>
              <a:tabLst/>
              <a:defRPr/>
            </a:pPr>
            <a:r>
              <a:rPr kumimoji="0" lang="en-GB" sz="1000" b="1" i="0" u="none" strike="noStrike" kern="1200" cap="none" spc="0" normalizeH="0" baseline="0" noProof="0" dirty="0">
                <a:ln>
                  <a:noFill/>
                </a:ln>
                <a:solidFill>
                  <a:srgbClr val="000000"/>
                </a:solidFill>
                <a:effectLst/>
                <a:uLnTx/>
                <a:uFillTx/>
                <a:latin typeface="Open Sans"/>
                <a:ea typeface="+mn-ea"/>
                <a:cs typeface="+mn-cs"/>
              </a:rPr>
              <a:t>Email</a:t>
            </a:r>
          </a:p>
          <a:p>
            <a:pPr marL="1200150" marR="0" lvl="2" indent="-285750" algn="l" defTabSz="914400" rtl="0" eaLnBrk="1" fontAlgn="auto" latinLnBrk="0" hangingPunct="1">
              <a:lnSpc>
                <a:spcPct val="100000"/>
              </a:lnSpc>
              <a:spcBef>
                <a:spcPts val="600"/>
              </a:spcBef>
              <a:spcAft>
                <a:spcPts val="600"/>
              </a:spcAft>
              <a:buClr>
                <a:srgbClr val="787878"/>
              </a:buClr>
              <a:buSzPct val="75000"/>
              <a:buFont typeface="Wingdings" panose="05000000000000000000" pitchFamily="2" charset="2"/>
              <a:buChar char="§"/>
              <a:tabLst/>
              <a:defRPr/>
            </a:pPr>
            <a:r>
              <a:rPr kumimoji="0" lang="en-GB" sz="1000" b="0" i="0" u="none" strike="noStrike" kern="1200" cap="none" spc="0" normalizeH="0" baseline="0" noProof="0" dirty="0">
                <a:ln>
                  <a:noFill/>
                </a:ln>
                <a:solidFill>
                  <a:srgbClr val="000000"/>
                </a:solidFill>
                <a:effectLst/>
                <a:uLnTx/>
                <a:uFillTx/>
                <a:latin typeface="Open Sans" charset="0"/>
                <a:ea typeface="Open Sans" charset="0"/>
                <a:cs typeface="Open Sans" charset="0"/>
              </a:rPr>
              <a:t>Are you sending specific users to a certain journey? (Journey Builder Integration)</a:t>
            </a:r>
          </a:p>
          <a:p>
            <a:pPr marL="1200150" marR="0" lvl="2" indent="-285750" algn="l" defTabSz="914400" rtl="0" eaLnBrk="1" fontAlgn="auto" latinLnBrk="0" hangingPunct="1">
              <a:lnSpc>
                <a:spcPct val="100000"/>
              </a:lnSpc>
              <a:spcBef>
                <a:spcPts val="600"/>
              </a:spcBef>
              <a:spcAft>
                <a:spcPts val="600"/>
              </a:spcAft>
              <a:buClr>
                <a:srgbClr val="787878"/>
              </a:buClr>
              <a:buSzPct val="75000"/>
              <a:buFont typeface="Wingdings" panose="05000000000000000000" pitchFamily="2" charset="2"/>
              <a:buChar char="§"/>
              <a:tabLst/>
              <a:defRPr/>
            </a:pPr>
            <a:r>
              <a:rPr kumimoji="0" lang="en-GB" sz="1000" b="0" i="0" u="none" strike="noStrike" kern="1200" cap="none" spc="0" normalizeH="0" baseline="0" noProof="0" dirty="0">
                <a:ln>
                  <a:noFill/>
                </a:ln>
                <a:solidFill>
                  <a:srgbClr val="000000"/>
                </a:solidFill>
                <a:effectLst/>
                <a:uLnTx/>
                <a:uFillTx/>
                <a:latin typeface="Open Sans" charset="0"/>
                <a:ea typeface="Open Sans" charset="0"/>
                <a:cs typeface="Open Sans" charset="0"/>
              </a:rPr>
              <a:t>Are you personalizing the content within an email? (Open Time Email Recommendations) </a:t>
            </a:r>
          </a:p>
          <a:p>
            <a:pPr marL="285750" marR="0" lvl="0" indent="-285750" algn="l" defTabSz="914400" rtl="0" eaLnBrk="1" fontAlgn="auto" latinLnBrk="0" hangingPunct="1">
              <a:lnSpc>
                <a:spcPct val="100000"/>
              </a:lnSpc>
              <a:spcBef>
                <a:spcPts val="600"/>
              </a:spcBef>
              <a:spcAft>
                <a:spcPts val="600"/>
              </a:spcAft>
              <a:buClr>
                <a:srgbClr val="787878"/>
              </a:buClr>
              <a:buSzPct val="75000"/>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Open Sans" charset="0"/>
                <a:ea typeface="Open Sans" charset="0"/>
                <a:cs typeface="Open Sans" charset="0"/>
              </a:rPr>
              <a:t>Regardless of channel, you will need to understand</a:t>
            </a:r>
          </a:p>
          <a:p>
            <a:pPr marL="742950" marR="0" lvl="1" indent="-285750" algn="l" defTabSz="914400" rtl="0" eaLnBrk="1" fontAlgn="auto" latinLnBrk="0" hangingPunct="1">
              <a:lnSpc>
                <a:spcPct val="100000"/>
              </a:lnSpc>
              <a:spcBef>
                <a:spcPts val="600"/>
              </a:spcBef>
              <a:spcAft>
                <a:spcPts val="600"/>
              </a:spcAft>
              <a:buClr>
                <a:srgbClr val="787878"/>
              </a:buClr>
              <a:buSzPct val="75000"/>
              <a:buFont typeface="Wingdings" panose="05000000000000000000" pitchFamily="2" charset="2"/>
              <a:buChar char="§"/>
              <a:tabLst/>
              <a:defRPr/>
            </a:pPr>
            <a:r>
              <a:rPr kumimoji="0" lang="en-GB" sz="1000" b="0" i="0" u="none" strike="noStrike" kern="1200" cap="none" spc="0" normalizeH="0" baseline="0" noProof="0" dirty="0">
                <a:ln>
                  <a:noFill/>
                </a:ln>
                <a:solidFill>
                  <a:srgbClr val="000000"/>
                </a:solidFill>
                <a:effectLst/>
                <a:uLnTx/>
                <a:uFillTx/>
                <a:latin typeface="Open Sans"/>
                <a:ea typeface="+mn-ea"/>
                <a:cs typeface="+mn-cs"/>
              </a:rPr>
              <a:t>What additional data is required to support the use case? (ETLs, integrations)</a:t>
            </a:r>
          </a:p>
          <a:p>
            <a:pPr marL="742950" marR="0" lvl="1" indent="-285750" algn="l" defTabSz="914400" rtl="0" eaLnBrk="1" fontAlgn="auto" latinLnBrk="0" hangingPunct="1">
              <a:lnSpc>
                <a:spcPct val="100000"/>
              </a:lnSpc>
              <a:spcBef>
                <a:spcPts val="600"/>
              </a:spcBef>
              <a:spcAft>
                <a:spcPts val="600"/>
              </a:spcAft>
              <a:buClr>
                <a:srgbClr val="787878"/>
              </a:buClr>
              <a:buSzPct val="75000"/>
              <a:buFont typeface="Wingdings" panose="05000000000000000000" pitchFamily="2" charset="2"/>
              <a:buChar char="§"/>
              <a:tabLst/>
              <a:defRPr/>
            </a:pPr>
            <a:r>
              <a:rPr kumimoji="0" lang="en-GB" sz="1000" b="0" i="0" u="none" strike="noStrike" kern="1200" cap="none" spc="0" normalizeH="0" baseline="0" noProof="0" dirty="0">
                <a:ln>
                  <a:noFill/>
                </a:ln>
                <a:solidFill>
                  <a:srgbClr val="000000"/>
                </a:solidFill>
                <a:effectLst/>
                <a:uLnTx/>
                <a:uFillTx/>
                <a:latin typeface="Open Sans"/>
                <a:ea typeface="+mn-ea"/>
                <a:cs typeface="+mn-cs"/>
              </a:rPr>
              <a:t>What goals are you tracking? What are the reporting requirements? </a:t>
            </a:r>
          </a:p>
        </p:txBody>
      </p:sp>
      <p:sp>
        <p:nvSpPr>
          <p:cNvPr id="100" name="TextBox 99">
            <a:extLst>
              <a:ext uri="{FF2B5EF4-FFF2-40B4-BE49-F238E27FC236}">
                <a16:creationId xmlns:a16="http://schemas.microsoft.com/office/drawing/2014/main" id="{7979D4A7-4322-40B9-8A6A-76AD61248AA7}"/>
              </a:ext>
            </a:extLst>
          </p:cNvPr>
          <p:cNvSpPr txBox="1"/>
          <p:nvPr/>
        </p:nvSpPr>
        <p:spPr>
          <a:xfrm>
            <a:off x="7646915" y="6417580"/>
            <a:ext cx="4278385" cy="369332"/>
          </a:xfrm>
          <a:prstGeom prst="rect">
            <a:avLst/>
          </a:prstGeom>
          <a:noFill/>
        </p:spPr>
        <p:txBody>
          <a:bodyPr wrap="square" rtlCol="0">
            <a:spAutoFit/>
          </a:bodyPr>
          <a:lstStyle/>
          <a:p>
            <a:pPr marL="342900" indent="-342900">
              <a:buFont typeface="+mj-lt"/>
              <a:buAutoNum type="arabicPeriod"/>
            </a:pPr>
            <a:r>
              <a:rPr lang="en-US" sz="900" dirty="0">
                <a:solidFill>
                  <a:srgbClr val="000000"/>
                </a:solidFill>
                <a:latin typeface="Open Sans"/>
                <a:ea typeface="Calibri" panose="020F0502020204030204" pitchFamily="34" charset="0"/>
                <a:cs typeface="Times New Roman" panose="02020603050405020304" pitchFamily="18" charset="0"/>
                <a:hlinkClick r:id="rId7"/>
              </a:rPr>
              <a:t>https://share.vidyard.com/watch/bxSAj6ekGQaVsNAvMRWUJS</a:t>
            </a:r>
            <a:r>
              <a:rPr lang="en-US" sz="900" dirty="0">
                <a:solidFill>
                  <a:srgbClr val="000000"/>
                </a:solidFill>
                <a:latin typeface="Open Sans"/>
                <a:ea typeface="Calibri" panose="020F0502020204030204" pitchFamily="34" charset="0"/>
                <a:cs typeface="Times New Roman" panose="02020603050405020304" pitchFamily="18" charset="0"/>
              </a:rPr>
              <a:t>?</a:t>
            </a:r>
          </a:p>
          <a:p>
            <a:pPr marL="342900" indent="-342900">
              <a:buFont typeface="+mj-lt"/>
              <a:buAutoNum type="arabicPeriod"/>
            </a:pPr>
            <a:r>
              <a:rPr lang="en-US" sz="900" dirty="0">
                <a:solidFill>
                  <a:srgbClr val="000000"/>
                </a:solidFill>
                <a:latin typeface="Open Sans"/>
                <a:ea typeface="Calibri" panose="020F0502020204030204" pitchFamily="34" charset="0"/>
                <a:cs typeface="Times New Roman" panose="02020603050405020304" pitchFamily="18" charset="0"/>
                <a:hlinkClick r:id="rId8"/>
              </a:rPr>
              <a:t>https://quip.com/CFPaARScXNaR/Implementation-Discovery-Guide</a:t>
            </a:r>
            <a:endParaRPr lang="en-US" sz="900" dirty="0">
              <a:solidFill>
                <a:srgbClr val="000000"/>
              </a:solidFill>
              <a:latin typeface="Open Sans"/>
              <a:ea typeface="Calibri" panose="020F0502020204030204" pitchFamily="34" charset="0"/>
              <a:cs typeface="Times New Roman" panose="02020603050405020304" pitchFamily="18" charset="0"/>
            </a:endParaRPr>
          </a:p>
        </p:txBody>
      </p:sp>
      <p:grpSp>
        <p:nvGrpSpPr>
          <p:cNvPr id="101" name="Group 100">
            <a:extLst>
              <a:ext uri="{FF2B5EF4-FFF2-40B4-BE49-F238E27FC236}">
                <a16:creationId xmlns:a16="http://schemas.microsoft.com/office/drawing/2014/main" id="{891B8604-BF03-4FF2-96AF-3687F6B60928}"/>
              </a:ext>
            </a:extLst>
          </p:cNvPr>
          <p:cNvGrpSpPr/>
          <p:nvPr/>
        </p:nvGrpSpPr>
        <p:grpSpPr>
          <a:xfrm>
            <a:off x="1024393" y="3730021"/>
            <a:ext cx="183655" cy="198139"/>
            <a:chOff x="3306763" y="4772025"/>
            <a:chExt cx="512763" cy="582613"/>
          </a:xfrm>
        </p:grpSpPr>
        <p:sp>
          <p:nvSpPr>
            <p:cNvPr id="102" name="Freeform 243">
              <a:extLst>
                <a:ext uri="{FF2B5EF4-FFF2-40B4-BE49-F238E27FC236}">
                  <a16:creationId xmlns:a16="http://schemas.microsoft.com/office/drawing/2014/main" id="{79AB697D-2ECE-403E-AD58-2D0E6F41CF8A}"/>
                </a:ext>
              </a:extLst>
            </p:cNvPr>
            <p:cNvSpPr>
              <a:spLocks noEditPoints="1"/>
            </p:cNvSpPr>
            <p:nvPr/>
          </p:nvSpPr>
          <p:spPr bwMode="auto">
            <a:xfrm>
              <a:off x="3452813" y="4918075"/>
              <a:ext cx="282575" cy="282575"/>
            </a:xfrm>
            <a:custGeom>
              <a:avLst/>
              <a:gdLst>
                <a:gd name="T0" fmla="*/ 111 w 116"/>
                <a:gd name="T1" fmla="*/ 86 h 116"/>
                <a:gd name="T2" fmla="*/ 76 w 116"/>
                <a:gd name="T3" fmla="*/ 70 h 116"/>
                <a:gd name="T4" fmla="*/ 76 w 116"/>
                <a:gd name="T5" fmla="*/ 67 h 116"/>
                <a:gd name="T6" fmla="*/ 83 w 116"/>
                <a:gd name="T7" fmla="*/ 53 h 116"/>
                <a:gd name="T8" fmla="*/ 88 w 116"/>
                <a:gd name="T9" fmla="*/ 44 h 116"/>
                <a:gd name="T10" fmla="*/ 86 w 116"/>
                <a:gd name="T11" fmla="*/ 37 h 116"/>
                <a:gd name="T12" fmla="*/ 86 w 116"/>
                <a:gd name="T13" fmla="*/ 26 h 116"/>
                <a:gd name="T14" fmla="*/ 58 w 116"/>
                <a:gd name="T15" fmla="*/ 0 h 116"/>
                <a:gd name="T16" fmla="*/ 31 w 116"/>
                <a:gd name="T17" fmla="*/ 26 h 116"/>
                <a:gd name="T18" fmla="*/ 31 w 116"/>
                <a:gd name="T19" fmla="*/ 37 h 116"/>
                <a:gd name="T20" fmla="*/ 29 w 116"/>
                <a:gd name="T21" fmla="*/ 44 h 116"/>
                <a:gd name="T22" fmla="*/ 33 w 116"/>
                <a:gd name="T23" fmla="*/ 53 h 116"/>
                <a:gd name="T24" fmla="*/ 40 w 116"/>
                <a:gd name="T25" fmla="*/ 67 h 116"/>
                <a:gd name="T26" fmla="*/ 40 w 116"/>
                <a:gd name="T27" fmla="*/ 69 h 116"/>
                <a:gd name="T28" fmla="*/ 6 w 116"/>
                <a:gd name="T29" fmla="*/ 86 h 116"/>
                <a:gd name="T30" fmla="*/ 0 w 116"/>
                <a:gd name="T31" fmla="*/ 94 h 116"/>
                <a:gd name="T32" fmla="*/ 0 w 116"/>
                <a:gd name="T33" fmla="*/ 108 h 116"/>
                <a:gd name="T34" fmla="*/ 9 w 116"/>
                <a:gd name="T35" fmla="*/ 116 h 116"/>
                <a:gd name="T36" fmla="*/ 108 w 116"/>
                <a:gd name="T37" fmla="*/ 116 h 116"/>
                <a:gd name="T38" fmla="*/ 116 w 116"/>
                <a:gd name="T39" fmla="*/ 108 h 116"/>
                <a:gd name="T40" fmla="*/ 116 w 116"/>
                <a:gd name="T41" fmla="*/ 94 h 116"/>
                <a:gd name="T42" fmla="*/ 111 w 116"/>
                <a:gd name="T43" fmla="*/ 86 h 116"/>
                <a:gd name="T44" fmla="*/ 107 w 116"/>
                <a:gd name="T45" fmla="*/ 107 h 116"/>
                <a:gd name="T46" fmla="*/ 10 w 116"/>
                <a:gd name="T47" fmla="*/ 107 h 116"/>
                <a:gd name="T48" fmla="*/ 10 w 116"/>
                <a:gd name="T49" fmla="*/ 95 h 116"/>
                <a:gd name="T50" fmla="*/ 50 w 116"/>
                <a:gd name="T51" fmla="*/ 72 h 116"/>
                <a:gd name="T52" fmla="*/ 50 w 116"/>
                <a:gd name="T53" fmla="*/ 71 h 116"/>
                <a:gd name="T54" fmla="*/ 50 w 116"/>
                <a:gd name="T55" fmla="*/ 65 h 116"/>
                <a:gd name="T56" fmla="*/ 48 w 116"/>
                <a:gd name="T57" fmla="*/ 62 h 116"/>
                <a:gd name="T58" fmla="*/ 42 w 116"/>
                <a:gd name="T59" fmla="*/ 49 h 116"/>
                <a:gd name="T60" fmla="*/ 40 w 116"/>
                <a:gd name="T61" fmla="*/ 47 h 116"/>
                <a:gd name="T62" fmla="*/ 38 w 116"/>
                <a:gd name="T63" fmla="*/ 44 h 116"/>
                <a:gd name="T64" fmla="*/ 39 w 116"/>
                <a:gd name="T65" fmla="*/ 41 h 116"/>
                <a:gd name="T66" fmla="*/ 40 w 116"/>
                <a:gd name="T67" fmla="*/ 38 h 116"/>
                <a:gd name="T68" fmla="*/ 40 w 116"/>
                <a:gd name="T69" fmla="*/ 26 h 116"/>
                <a:gd name="T70" fmla="*/ 58 w 116"/>
                <a:gd name="T71" fmla="*/ 10 h 116"/>
                <a:gd name="T72" fmla="*/ 76 w 116"/>
                <a:gd name="T73" fmla="*/ 26 h 116"/>
                <a:gd name="T74" fmla="*/ 76 w 116"/>
                <a:gd name="T75" fmla="*/ 38 h 116"/>
                <a:gd name="T76" fmla="*/ 77 w 116"/>
                <a:gd name="T77" fmla="*/ 41 h 116"/>
                <a:gd name="T78" fmla="*/ 78 w 116"/>
                <a:gd name="T79" fmla="*/ 44 h 116"/>
                <a:gd name="T80" fmla="*/ 76 w 116"/>
                <a:gd name="T81" fmla="*/ 47 h 116"/>
                <a:gd name="T82" fmla="*/ 75 w 116"/>
                <a:gd name="T83" fmla="*/ 49 h 116"/>
                <a:gd name="T84" fmla="*/ 68 w 116"/>
                <a:gd name="T85" fmla="*/ 62 h 116"/>
                <a:gd name="T86" fmla="*/ 66 w 116"/>
                <a:gd name="T87" fmla="*/ 65 h 116"/>
                <a:gd name="T88" fmla="*/ 66 w 116"/>
                <a:gd name="T89" fmla="*/ 71 h 116"/>
                <a:gd name="T90" fmla="*/ 67 w 116"/>
                <a:gd name="T91" fmla="*/ 72 h 116"/>
                <a:gd name="T92" fmla="*/ 107 w 116"/>
                <a:gd name="T93" fmla="*/ 95 h 116"/>
                <a:gd name="T94" fmla="*/ 107 w 116"/>
                <a:gd name="T95" fmla="*/ 10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6" h="116">
                  <a:moveTo>
                    <a:pt x="111" y="86"/>
                  </a:moveTo>
                  <a:cubicBezTo>
                    <a:pt x="83" y="76"/>
                    <a:pt x="77" y="71"/>
                    <a:pt x="76" y="70"/>
                  </a:cubicBezTo>
                  <a:cubicBezTo>
                    <a:pt x="76" y="67"/>
                    <a:pt x="76" y="67"/>
                    <a:pt x="76" y="67"/>
                  </a:cubicBezTo>
                  <a:cubicBezTo>
                    <a:pt x="79" y="63"/>
                    <a:pt x="82" y="59"/>
                    <a:pt x="83" y="53"/>
                  </a:cubicBezTo>
                  <a:cubicBezTo>
                    <a:pt x="86" y="51"/>
                    <a:pt x="88" y="47"/>
                    <a:pt x="88" y="44"/>
                  </a:cubicBezTo>
                  <a:cubicBezTo>
                    <a:pt x="88" y="41"/>
                    <a:pt x="87" y="39"/>
                    <a:pt x="86" y="37"/>
                  </a:cubicBezTo>
                  <a:cubicBezTo>
                    <a:pt x="86" y="26"/>
                    <a:pt x="86" y="26"/>
                    <a:pt x="86" y="26"/>
                  </a:cubicBezTo>
                  <a:cubicBezTo>
                    <a:pt x="86" y="10"/>
                    <a:pt x="75" y="0"/>
                    <a:pt x="58" y="0"/>
                  </a:cubicBezTo>
                  <a:cubicBezTo>
                    <a:pt x="41" y="0"/>
                    <a:pt x="31" y="10"/>
                    <a:pt x="31" y="26"/>
                  </a:cubicBezTo>
                  <a:cubicBezTo>
                    <a:pt x="31" y="37"/>
                    <a:pt x="31" y="37"/>
                    <a:pt x="31" y="37"/>
                  </a:cubicBezTo>
                  <a:cubicBezTo>
                    <a:pt x="29" y="39"/>
                    <a:pt x="29" y="41"/>
                    <a:pt x="29" y="44"/>
                  </a:cubicBezTo>
                  <a:cubicBezTo>
                    <a:pt x="29" y="47"/>
                    <a:pt x="30" y="51"/>
                    <a:pt x="33" y="53"/>
                  </a:cubicBezTo>
                  <a:cubicBezTo>
                    <a:pt x="35" y="59"/>
                    <a:pt x="37" y="63"/>
                    <a:pt x="40" y="67"/>
                  </a:cubicBezTo>
                  <a:cubicBezTo>
                    <a:pt x="40" y="69"/>
                    <a:pt x="40" y="69"/>
                    <a:pt x="40" y="69"/>
                  </a:cubicBezTo>
                  <a:cubicBezTo>
                    <a:pt x="39" y="71"/>
                    <a:pt x="33" y="76"/>
                    <a:pt x="6" y="86"/>
                  </a:cubicBezTo>
                  <a:cubicBezTo>
                    <a:pt x="2" y="88"/>
                    <a:pt x="0" y="91"/>
                    <a:pt x="0" y="94"/>
                  </a:cubicBezTo>
                  <a:cubicBezTo>
                    <a:pt x="0" y="108"/>
                    <a:pt x="0" y="108"/>
                    <a:pt x="0" y="108"/>
                  </a:cubicBezTo>
                  <a:cubicBezTo>
                    <a:pt x="0" y="112"/>
                    <a:pt x="4" y="116"/>
                    <a:pt x="9" y="116"/>
                  </a:cubicBezTo>
                  <a:cubicBezTo>
                    <a:pt x="108" y="116"/>
                    <a:pt x="108" y="116"/>
                    <a:pt x="108" y="116"/>
                  </a:cubicBezTo>
                  <a:cubicBezTo>
                    <a:pt x="112" y="116"/>
                    <a:pt x="116" y="112"/>
                    <a:pt x="116" y="108"/>
                  </a:cubicBezTo>
                  <a:cubicBezTo>
                    <a:pt x="116" y="94"/>
                    <a:pt x="116" y="94"/>
                    <a:pt x="116" y="94"/>
                  </a:cubicBezTo>
                  <a:cubicBezTo>
                    <a:pt x="116" y="91"/>
                    <a:pt x="114" y="88"/>
                    <a:pt x="111" y="86"/>
                  </a:cubicBezTo>
                  <a:close/>
                  <a:moveTo>
                    <a:pt x="107" y="107"/>
                  </a:moveTo>
                  <a:cubicBezTo>
                    <a:pt x="10" y="107"/>
                    <a:pt x="10" y="107"/>
                    <a:pt x="10" y="107"/>
                  </a:cubicBezTo>
                  <a:cubicBezTo>
                    <a:pt x="10" y="95"/>
                    <a:pt x="10" y="95"/>
                    <a:pt x="10" y="95"/>
                  </a:cubicBezTo>
                  <a:cubicBezTo>
                    <a:pt x="44" y="82"/>
                    <a:pt x="48" y="76"/>
                    <a:pt x="50" y="72"/>
                  </a:cubicBezTo>
                  <a:cubicBezTo>
                    <a:pt x="50" y="72"/>
                    <a:pt x="50" y="71"/>
                    <a:pt x="50" y="71"/>
                  </a:cubicBezTo>
                  <a:cubicBezTo>
                    <a:pt x="50" y="65"/>
                    <a:pt x="50" y="65"/>
                    <a:pt x="50" y="65"/>
                  </a:cubicBezTo>
                  <a:cubicBezTo>
                    <a:pt x="50" y="64"/>
                    <a:pt x="49" y="63"/>
                    <a:pt x="48" y="62"/>
                  </a:cubicBezTo>
                  <a:cubicBezTo>
                    <a:pt x="45" y="59"/>
                    <a:pt x="43" y="55"/>
                    <a:pt x="42" y="49"/>
                  </a:cubicBezTo>
                  <a:cubicBezTo>
                    <a:pt x="41" y="48"/>
                    <a:pt x="41" y="47"/>
                    <a:pt x="40" y="47"/>
                  </a:cubicBezTo>
                  <a:cubicBezTo>
                    <a:pt x="39" y="46"/>
                    <a:pt x="38" y="45"/>
                    <a:pt x="38" y="44"/>
                  </a:cubicBezTo>
                  <a:cubicBezTo>
                    <a:pt x="38" y="42"/>
                    <a:pt x="39" y="42"/>
                    <a:pt x="39" y="41"/>
                  </a:cubicBezTo>
                  <a:cubicBezTo>
                    <a:pt x="40" y="40"/>
                    <a:pt x="40" y="39"/>
                    <a:pt x="40" y="38"/>
                  </a:cubicBezTo>
                  <a:cubicBezTo>
                    <a:pt x="40" y="26"/>
                    <a:pt x="40" y="26"/>
                    <a:pt x="40" y="26"/>
                  </a:cubicBezTo>
                  <a:cubicBezTo>
                    <a:pt x="40" y="15"/>
                    <a:pt x="46" y="10"/>
                    <a:pt x="58" y="10"/>
                  </a:cubicBezTo>
                  <a:cubicBezTo>
                    <a:pt x="70" y="10"/>
                    <a:pt x="76" y="15"/>
                    <a:pt x="76" y="26"/>
                  </a:cubicBezTo>
                  <a:cubicBezTo>
                    <a:pt x="76" y="38"/>
                    <a:pt x="76" y="38"/>
                    <a:pt x="76" y="38"/>
                  </a:cubicBezTo>
                  <a:cubicBezTo>
                    <a:pt x="76" y="39"/>
                    <a:pt x="76" y="40"/>
                    <a:pt x="77" y="41"/>
                  </a:cubicBezTo>
                  <a:cubicBezTo>
                    <a:pt x="78" y="42"/>
                    <a:pt x="78" y="42"/>
                    <a:pt x="78" y="44"/>
                  </a:cubicBezTo>
                  <a:cubicBezTo>
                    <a:pt x="78" y="45"/>
                    <a:pt x="77" y="46"/>
                    <a:pt x="76" y="47"/>
                  </a:cubicBezTo>
                  <a:cubicBezTo>
                    <a:pt x="76" y="47"/>
                    <a:pt x="75" y="48"/>
                    <a:pt x="75" y="49"/>
                  </a:cubicBezTo>
                  <a:cubicBezTo>
                    <a:pt x="73" y="55"/>
                    <a:pt x="71" y="59"/>
                    <a:pt x="68" y="62"/>
                  </a:cubicBezTo>
                  <a:cubicBezTo>
                    <a:pt x="67" y="63"/>
                    <a:pt x="66" y="64"/>
                    <a:pt x="66" y="65"/>
                  </a:cubicBezTo>
                  <a:cubicBezTo>
                    <a:pt x="66" y="71"/>
                    <a:pt x="66" y="71"/>
                    <a:pt x="66" y="71"/>
                  </a:cubicBezTo>
                  <a:cubicBezTo>
                    <a:pt x="66" y="71"/>
                    <a:pt x="66" y="72"/>
                    <a:pt x="67" y="72"/>
                  </a:cubicBezTo>
                  <a:cubicBezTo>
                    <a:pt x="68" y="76"/>
                    <a:pt x="72" y="82"/>
                    <a:pt x="107" y="95"/>
                  </a:cubicBezTo>
                  <a:lnTo>
                    <a:pt x="107" y="107"/>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solidFill>
                  <a:srgbClr val="000000"/>
                </a:solidFill>
                <a:latin typeface="Open Sans"/>
              </a:endParaRPr>
            </a:p>
          </p:txBody>
        </p:sp>
        <p:sp>
          <p:nvSpPr>
            <p:cNvPr id="103" name="Freeform 244">
              <a:extLst>
                <a:ext uri="{FF2B5EF4-FFF2-40B4-BE49-F238E27FC236}">
                  <a16:creationId xmlns:a16="http://schemas.microsoft.com/office/drawing/2014/main" id="{D9C10F2E-757B-4E6F-B79B-D912C70F14EC}"/>
                </a:ext>
              </a:extLst>
            </p:cNvPr>
            <p:cNvSpPr>
              <a:spLocks noEditPoints="1"/>
            </p:cNvSpPr>
            <p:nvPr/>
          </p:nvSpPr>
          <p:spPr bwMode="auto">
            <a:xfrm>
              <a:off x="3306763" y="4772025"/>
              <a:ext cx="512763" cy="582613"/>
            </a:xfrm>
            <a:custGeom>
              <a:avLst/>
              <a:gdLst>
                <a:gd name="T0" fmla="*/ 29 w 210"/>
                <a:gd name="T1" fmla="*/ 0 h 239"/>
                <a:gd name="T2" fmla="*/ 16 w 210"/>
                <a:gd name="T3" fmla="*/ 24 h 239"/>
                <a:gd name="T4" fmla="*/ 0 w 210"/>
                <a:gd name="T5" fmla="*/ 29 h 239"/>
                <a:gd name="T6" fmla="*/ 16 w 210"/>
                <a:gd name="T7" fmla="*/ 34 h 239"/>
                <a:gd name="T8" fmla="*/ 5 w 210"/>
                <a:gd name="T9" fmla="*/ 54 h 239"/>
                <a:gd name="T10" fmla="*/ 5 w 210"/>
                <a:gd name="T11" fmla="*/ 64 h 239"/>
                <a:gd name="T12" fmla="*/ 16 w 210"/>
                <a:gd name="T13" fmla="*/ 85 h 239"/>
                <a:gd name="T14" fmla="*/ 0 w 210"/>
                <a:gd name="T15" fmla="*/ 89 h 239"/>
                <a:gd name="T16" fmla="*/ 16 w 210"/>
                <a:gd name="T17" fmla="*/ 94 h 239"/>
                <a:gd name="T18" fmla="*/ 5 w 210"/>
                <a:gd name="T19" fmla="*/ 115 h 239"/>
                <a:gd name="T20" fmla="*/ 5 w 210"/>
                <a:gd name="T21" fmla="*/ 124 h 239"/>
                <a:gd name="T22" fmla="*/ 16 w 210"/>
                <a:gd name="T23" fmla="*/ 145 h 239"/>
                <a:gd name="T24" fmla="*/ 0 w 210"/>
                <a:gd name="T25" fmla="*/ 149 h 239"/>
                <a:gd name="T26" fmla="*/ 16 w 210"/>
                <a:gd name="T27" fmla="*/ 154 h 239"/>
                <a:gd name="T28" fmla="*/ 5 w 210"/>
                <a:gd name="T29" fmla="*/ 174 h 239"/>
                <a:gd name="T30" fmla="*/ 5 w 210"/>
                <a:gd name="T31" fmla="*/ 184 h 239"/>
                <a:gd name="T32" fmla="*/ 16 w 210"/>
                <a:gd name="T33" fmla="*/ 205 h 239"/>
                <a:gd name="T34" fmla="*/ 0 w 210"/>
                <a:gd name="T35" fmla="*/ 209 h 239"/>
                <a:gd name="T36" fmla="*/ 16 w 210"/>
                <a:gd name="T37" fmla="*/ 214 h 239"/>
                <a:gd name="T38" fmla="*/ 29 w 210"/>
                <a:gd name="T39" fmla="*/ 239 h 239"/>
                <a:gd name="T40" fmla="*/ 210 w 210"/>
                <a:gd name="T41" fmla="*/ 226 h 239"/>
                <a:gd name="T42" fmla="*/ 198 w 210"/>
                <a:gd name="T43" fmla="*/ 0 h 239"/>
                <a:gd name="T44" fmla="*/ 198 w 210"/>
                <a:gd name="T45" fmla="*/ 229 h 239"/>
                <a:gd name="T46" fmla="*/ 26 w 210"/>
                <a:gd name="T47" fmla="*/ 226 h 239"/>
                <a:gd name="T48" fmla="*/ 37 w 210"/>
                <a:gd name="T49" fmla="*/ 214 h 239"/>
                <a:gd name="T50" fmla="*/ 37 w 210"/>
                <a:gd name="T51" fmla="*/ 205 h 239"/>
                <a:gd name="T52" fmla="*/ 26 w 210"/>
                <a:gd name="T53" fmla="*/ 184 h 239"/>
                <a:gd name="T54" fmla="*/ 41 w 210"/>
                <a:gd name="T55" fmla="*/ 179 h 239"/>
                <a:gd name="T56" fmla="*/ 26 w 210"/>
                <a:gd name="T57" fmla="*/ 174 h 239"/>
                <a:gd name="T58" fmla="*/ 37 w 210"/>
                <a:gd name="T59" fmla="*/ 154 h 239"/>
                <a:gd name="T60" fmla="*/ 37 w 210"/>
                <a:gd name="T61" fmla="*/ 145 h 239"/>
                <a:gd name="T62" fmla="*/ 26 w 210"/>
                <a:gd name="T63" fmla="*/ 124 h 239"/>
                <a:gd name="T64" fmla="*/ 41 w 210"/>
                <a:gd name="T65" fmla="*/ 120 h 239"/>
                <a:gd name="T66" fmla="*/ 26 w 210"/>
                <a:gd name="T67" fmla="*/ 115 h 239"/>
                <a:gd name="T68" fmla="*/ 37 w 210"/>
                <a:gd name="T69" fmla="*/ 94 h 239"/>
                <a:gd name="T70" fmla="*/ 37 w 210"/>
                <a:gd name="T71" fmla="*/ 85 h 239"/>
                <a:gd name="T72" fmla="*/ 26 w 210"/>
                <a:gd name="T73" fmla="*/ 64 h 239"/>
                <a:gd name="T74" fmla="*/ 41 w 210"/>
                <a:gd name="T75" fmla="*/ 59 h 239"/>
                <a:gd name="T76" fmla="*/ 26 w 210"/>
                <a:gd name="T77" fmla="*/ 54 h 239"/>
                <a:gd name="T78" fmla="*/ 37 w 210"/>
                <a:gd name="T79" fmla="*/ 34 h 239"/>
                <a:gd name="T80" fmla="*/ 37 w 210"/>
                <a:gd name="T81" fmla="*/ 24 h 239"/>
                <a:gd name="T82" fmla="*/ 26 w 210"/>
                <a:gd name="T83" fmla="*/ 13 h 239"/>
                <a:gd name="T84" fmla="*/ 198 w 210"/>
                <a:gd name="T85" fmla="*/ 10 h 239"/>
                <a:gd name="T86" fmla="*/ 201 w 210"/>
                <a:gd name="T87" fmla="*/ 226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0" h="239">
                  <a:moveTo>
                    <a:pt x="198" y="0"/>
                  </a:moveTo>
                  <a:cubicBezTo>
                    <a:pt x="29" y="0"/>
                    <a:pt x="29" y="0"/>
                    <a:pt x="29" y="0"/>
                  </a:cubicBezTo>
                  <a:cubicBezTo>
                    <a:pt x="22" y="0"/>
                    <a:pt x="16" y="6"/>
                    <a:pt x="16" y="13"/>
                  </a:cubicBezTo>
                  <a:cubicBezTo>
                    <a:pt x="16" y="24"/>
                    <a:pt x="16" y="24"/>
                    <a:pt x="16" y="24"/>
                  </a:cubicBezTo>
                  <a:cubicBezTo>
                    <a:pt x="5" y="24"/>
                    <a:pt x="5" y="24"/>
                    <a:pt x="5" y="24"/>
                  </a:cubicBezTo>
                  <a:cubicBezTo>
                    <a:pt x="2" y="24"/>
                    <a:pt x="0" y="26"/>
                    <a:pt x="0" y="29"/>
                  </a:cubicBezTo>
                  <a:cubicBezTo>
                    <a:pt x="0" y="32"/>
                    <a:pt x="2" y="34"/>
                    <a:pt x="5" y="34"/>
                  </a:cubicBezTo>
                  <a:cubicBezTo>
                    <a:pt x="16" y="34"/>
                    <a:pt x="16" y="34"/>
                    <a:pt x="16" y="34"/>
                  </a:cubicBezTo>
                  <a:cubicBezTo>
                    <a:pt x="16" y="54"/>
                    <a:pt x="16" y="54"/>
                    <a:pt x="16" y="54"/>
                  </a:cubicBezTo>
                  <a:cubicBezTo>
                    <a:pt x="5" y="54"/>
                    <a:pt x="5" y="54"/>
                    <a:pt x="5" y="54"/>
                  </a:cubicBezTo>
                  <a:cubicBezTo>
                    <a:pt x="2" y="54"/>
                    <a:pt x="0" y="57"/>
                    <a:pt x="0" y="59"/>
                  </a:cubicBezTo>
                  <a:cubicBezTo>
                    <a:pt x="0" y="62"/>
                    <a:pt x="2" y="64"/>
                    <a:pt x="5" y="64"/>
                  </a:cubicBezTo>
                  <a:cubicBezTo>
                    <a:pt x="16" y="64"/>
                    <a:pt x="16" y="64"/>
                    <a:pt x="16" y="64"/>
                  </a:cubicBezTo>
                  <a:cubicBezTo>
                    <a:pt x="16" y="85"/>
                    <a:pt x="16" y="85"/>
                    <a:pt x="16" y="85"/>
                  </a:cubicBezTo>
                  <a:cubicBezTo>
                    <a:pt x="5" y="85"/>
                    <a:pt x="5" y="85"/>
                    <a:pt x="5" y="85"/>
                  </a:cubicBezTo>
                  <a:cubicBezTo>
                    <a:pt x="2" y="85"/>
                    <a:pt x="0" y="87"/>
                    <a:pt x="0" y="89"/>
                  </a:cubicBezTo>
                  <a:cubicBezTo>
                    <a:pt x="0" y="92"/>
                    <a:pt x="2" y="94"/>
                    <a:pt x="5" y="94"/>
                  </a:cubicBezTo>
                  <a:cubicBezTo>
                    <a:pt x="16" y="94"/>
                    <a:pt x="16" y="94"/>
                    <a:pt x="16" y="94"/>
                  </a:cubicBezTo>
                  <a:cubicBezTo>
                    <a:pt x="16" y="115"/>
                    <a:pt x="16" y="115"/>
                    <a:pt x="16" y="115"/>
                  </a:cubicBezTo>
                  <a:cubicBezTo>
                    <a:pt x="5" y="115"/>
                    <a:pt x="5" y="115"/>
                    <a:pt x="5" y="115"/>
                  </a:cubicBezTo>
                  <a:cubicBezTo>
                    <a:pt x="2" y="115"/>
                    <a:pt x="0" y="117"/>
                    <a:pt x="0" y="120"/>
                  </a:cubicBezTo>
                  <a:cubicBezTo>
                    <a:pt x="0" y="122"/>
                    <a:pt x="2" y="124"/>
                    <a:pt x="5" y="124"/>
                  </a:cubicBezTo>
                  <a:cubicBezTo>
                    <a:pt x="16" y="124"/>
                    <a:pt x="16" y="124"/>
                    <a:pt x="16" y="124"/>
                  </a:cubicBezTo>
                  <a:cubicBezTo>
                    <a:pt x="16" y="145"/>
                    <a:pt x="16" y="145"/>
                    <a:pt x="16" y="145"/>
                  </a:cubicBezTo>
                  <a:cubicBezTo>
                    <a:pt x="5" y="145"/>
                    <a:pt x="5" y="145"/>
                    <a:pt x="5" y="145"/>
                  </a:cubicBezTo>
                  <a:cubicBezTo>
                    <a:pt x="2" y="145"/>
                    <a:pt x="0" y="147"/>
                    <a:pt x="0" y="149"/>
                  </a:cubicBezTo>
                  <a:cubicBezTo>
                    <a:pt x="0" y="152"/>
                    <a:pt x="2" y="154"/>
                    <a:pt x="5" y="154"/>
                  </a:cubicBezTo>
                  <a:cubicBezTo>
                    <a:pt x="16" y="154"/>
                    <a:pt x="16" y="154"/>
                    <a:pt x="16" y="154"/>
                  </a:cubicBezTo>
                  <a:cubicBezTo>
                    <a:pt x="16" y="174"/>
                    <a:pt x="16" y="174"/>
                    <a:pt x="16" y="174"/>
                  </a:cubicBezTo>
                  <a:cubicBezTo>
                    <a:pt x="5" y="174"/>
                    <a:pt x="5" y="174"/>
                    <a:pt x="5" y="174"/>
                  </a:cubicBezTo>
                  <a:cubicBezTo>
                    <a:pt x="2" y="174"/>
                    <a:pt x="0" y="177"/>
                    <a:pt x="0" y="179"/>
                  </a:cubicBezTo>
                  <a:cubicBezTo>
                    <a:pt x="0" y="182"/>
                    <a:pt x="2" y="184"/>
                    <a:pt x="5" y="184"/>
                  </a:cubicBezTo>
                  <a:cubicBezTo>
                    <a:pt x="16" y="184"/>
                    <a:pt x="16" y="184"/>
                    <a:pt x="16" y="184"/>
                  </a:cubicBezTo>
                  <a:cubicBezTo>
                    <a:pt x="16" y="205"/>
                    <a:pt x="16" y="205"/>
                    <a:pt x="16" y="205"/>
                  </a:cubicBezTo>
                  <a:cubicBezTo>
                    <a:pt x="5" y="205"/>
                    <a:pt x="5" y="205"/>
                    <a:pt x="5" y="205"/>
                  </a:cubicBezTo>
                  <a:cubicBezTo>
                    <a:pt x="2" y="205"/>
                    <a:pt x="0" y="207"/>
                    <a:pt x="0" y="209"/>
                  </a:cubicBezTo>
                  <a:cubicBezTo>
                    <a:pt x="0" y="212"/>
                    <a:pt x="2" y="214"/>
                    <a:pt x="5" y="214"/>
                  </a:cubicBezTo>
                  <a:cubicBezTo>
                    <a:pt x="16" y="214"/>
                    <a:pt x="16" y="214"/>
                    <a:pt x="16" y="214"/>
                  </a:cubicBezTo>
                  <a:cubicBezTo>
                    <a:pt x="16" y="226"/>
                    <a:pt x="16" y="226"/>
                    <a:pt x="16" y="226"/>
                  </a:cubicBezTo>
                  <a:cubicBezTo>
                    <a:pt x="16" y="233"/>
                    <a:pt x="22" y="239"/>
                    <a:pt x="29" y="239"/>
                  </a:cubicBezTo>
                  <a:cubicBezTo>
                    <a:pt x="198" y="239"/>
                    <a:pt x="198" y="239"/>
                    <a:pt x="198" y="239"/>
                  </a:cubicBezTo>
                  <a:cubicBezTo>
                    <a:pt x="205" y="239"/>
                    <a:pt x="210" y="233"/>
                    <a:pt x="210" y="226"/>
                  </a:cubicBezTo>
                  <a:cubicBezTo>
                    <a:pt x="210" y="13"/>
                    <a:pt x="210" y="13"/>
                    <a:pt x="210" y="13"/>
                  </a:cubicBezTo>
                  <a:cubicBezTo>
                    <a:pt x="210" y="6"/>
                    <a:pt x="205" y="0"/>
                    <a:pt x="198" y="0"/>
                  </a:cubicBezTo>
                  <a:close/>
                  <a:moveTo>
                    <a:pt x="201" y="226"/>
                  </a:moveTo>
                  <a:cubicBezTo>
                    <a:pt x="201" y="228"/>
                    <a:pt x="199" y="229"/>
                    <a:pt x="198" y="229"/>
                  </a:cubicBezTo>
                  <a:cubicBezTo>
                    <a:pt x="29" y="229"/>
                    <a:pt x="29" y="229"/>
                    <a:pt x="29" y="229"/>
                  </a:cubicBezTo>
                  <a:cubicBezTo>
                    <a:pt x="27" y="229"/>
                    <a:pt x="26" y="228"/>
                    <a:pt x="26" y="226"/>
                  </a:cubicBezTo>
                  <a:cubicBezTo>
                    <a:pt x="26" y="214"/>
                    <a:pt x="26" y="214"/>
                    <a:pt x="26" y="214"/>
                  </a:cubicBezTo>
                  <a:cubicBezTo>
                    <a:pt x="37" y="214"/>
                    <a:pt x="37" y="214"/>
                    <a:pt x="37" y="214"/>
                  </a:cubicBezTo>
                  <a:cubicBezTo>
                    <a:pt x="39" y="214"/>
                    <a:pt x="41" y="212"/>
                    <a:pt x="41" y="209"/>
                  </a:cubicBezTo>
                  <a:cubicBezTo>
                    <a:pt x="41" y="207"/>
                    <a:pt x="39" y="205"/>
                    <a:pt x="37" y="205"/>
                  </a:cubicBezTo>
                  <a:cubicBezTo>
                    <a:pt x="26" y="205"/>
                    <a:pt x="26" y="205"/>
                    <a:pt x="26" y="205"/>
                  </a:cubicBezTo>
                  <a:cubicBezTo>
                    <a:pt x="26" y="184"/>
                    <a:pt x="26" y="184"/>
                    <a:pt x="26" y="184"/>
                  </a:cubicBezTo>
                  <a:cubicBezTo>
                    <a:pt x="37" y="184"/>
                    <a:pt x="37" y="184"/>
                    <a:pt x="37" y="184"/>
                  </a:cubicBezTo>
                  <a:cubicBezTo>
                    <a:pt x="39" y="184"/>
                    <a:pt x="41" y="182"/>
                    <a:pt x="41" y="179"/>
                  </a:cubicBezTo>
                  <a:cubicBezTo>
                    <a:pt x="41" y="177"/>
                    <a:pt x="39" y="174"/>
                    <a:pt x="37" y="174"/>
                  </a:cubicBezTo>
                  <a:cubicBezTo>
                    <a:pt x="26" y="174"/>
                    <a:pt x="26" y="174"/>
                    <a:pt x="26" y="174"/>
                  </a:cubicBezTo>
                  <a:cubicBezTo>
                    <a:pt x="26" y="154"/>
                    <a:pt x="26" y="154"/>
                    <a:pt x="26" y="154"/>
                  </a:cubicBezTo>
                  <a:cubicBezTo>
                    <a:pt x="37" y="154"/>
                    <a:pt x="37" y="154"/>
                    <a:pt x="37" y="154"/>
                  </a:cubicBezTo>
                  <a:cubicBezTo>
                    <a:pt x="39" y="154"/>
                    <a:pt x="41" y="152"/>
                    <a:pt x="41" y="149"/>
                  </a:cubicBezTo>
                  <a:cubicBezTo>
                    <a:pt x="41" y="147"/>
                    <a:pt x="39" y="145"/>
                    <a:pt x="37" y="145"/>
                  </a:cubicBezTo>
                  <a:cubicBezTo>
                    <a:pt x="26" y="145"/>
                    <a:pt x="26" y="145"/>
                    <a:pt x="26" y="145"/>
                  </a:cubicBezTo>
                  <a:cubicBezTo>
                    <a:pt x="26" y="124"/>
                    <a:pt x="26" y="124"/>
                    <a:pt x="26" y="124"/>
                  </a:cubicBezTo>
                  <a:cubicBezTo>
                    <a:pt x="37" y="124"/>
                    <a:pt x="37" y="124"/>
                    <a:pt x="37" y="124"/>
                  </a:cubicBezTo>
                  <a:cubicBezTo>
                    <a:pt x="39" y="124"/>
                    <a:pt x="41" y="122"/>
                    <a:pt x="41" y="120"/>
                  </a:cubicBezTo>
                  <a:cubicBezTo>
                    <a:pt x="41" y="117"/>
                    <a:pt x="39" y="115"/>
                    <a:pt x="37" y="115"/>
                  </a:cubicBezTo>
                  <a:cubicBezTo>
                    <a:pt x="26" y="115"/>
                    <a:pt x="26" y="115"/>
                    <a:pt x="26" y="115"/>
                  </a:cubicBezTo>
                  <a:cubicBezTo>
                    <a:pt x="26" y="94"/>
                    <a:pt x="26" y="94"/>
                    <a:pt x="26" y="94"/>
                  </a:cubicBezTo>
                  <a:cubicBezTo>
                    <a:pt x="37" y="94"/>
                    <a:pt x="37" y="94"/>
                    <a:pt x="37" y="94"/>
                  </a:cubicBezTo>
                  <a:cubicBezTo>
                    <a:pt x="39" y="94"/>
                    <a:pt x="41" y="92"/>
                    <a:pt x="41" y="89"/>
                  </a:cubicBezTo>
                  <a:cubicBezTo>
                    <a:pt x="41" y="87"/>
                    <a:pt x="39" y="85"/>
                    <a:pt x="37" y="85"/>
                  </a:cubicBezTo>
                  <a:cubicBezTo>
                    <a:pt x="26" y="85"/>
                    <a:pt x="26" y="85"/>
                    <a:pt x="26" y="85"/>
                  </a:cubicBezTo>
                  <a:cubicBezTo>
                    <a:pt x="26" y="64"/>
                    <a:pt x="26" y="64"/>
                    <a:pt x="26" y="64"/>
                  </a:cubicBezTo>
                  <a:cubicBezTo>
                    <a:pt x="37" y="64"/>
                    <a:pt x="37" y="64"/>
                    <a:pt x="37" y="64"/>
                  </a:cubicBezTo>
                  <a:cubicBezTo>
                    <a:pt x="39" y="64"/>
                    <a:pt x="41" y="62"/>
                    <a:pt x="41" y="59"/>
                  </a:cubicBezTo>
                  <a:cubicBezTo>
                    <a:pt x="41" y="57"/>
                    <a:pt x="39" y="54"/>
                    <a:pt x="37" y="54"/>
                  </a:cubicBezTo>
                  <a:cubicBezTo>
                    <a:pt x="26" y="54"/>
                    <a:pt x="26" y="54"/>
                    <a:pt x="26" y="54"/>
                  </a:cubicBezTo>
                  <a:cubicBezTo>
                    <a:pt x="26" y="34"/>
                    <a:pt x="26" y="34"/>
                    <a:pt x="26" y="34"/>
                  </a:cubicBezTo>
                  <a:cubicBezTo>
                    <a:pt x="37" y="34"/>
                    <a:pt x="37" y="34"/>
                    <a:pt x="37" y="34"/>
                  </a:cubicBezTo>
                  <a:cubicBezTo>
                    <a:pt x="39" y="34"/>
                    <a:pt x="41" y="32"/>
                    <a:pt x="41" y="29"/>
                  </a:cubicBezTo>
                  <a:cubicBezTo>
                    <a:pt x="41" y="26"/>
                    <a:pt x="39" y="24"/>
                    <a:pt x="37" y="24"/>
                  </a:cubicBezTo>
                  <a:cubicBezTo>
                    <a:pt x="26" y="24"/>
                    <a:pt x="26" y="24"/>
                    <a:pt x="26" y="24"/>
                  </a:cubicBezTo>
                  <a:cubicBezTo>
                    <a:pt x="26" y="13"/>
                    <a:pt x="26" y="13"/>
                    <a:pt x="26" y="13"/>
                  </a:cubicBezTo>
                  <a:cubicBezTo>
                    <a:pt x="26" y="11"/>
                    <a:pt x="27" y="10"/>
                    <a:pt x="29" y="10"/>
                  </a:cubicBezTo>
                  <a:cubicBezTo>
                    <a:pt x="198" y="10"/>
                    <a:pt x="198" y="10"/>
                    <a:pt x="198" y="10"/>
                  </a:cubicBezTo>
                  <a:cubicBezTo>
                    <a:pt x="199" y="10"/>
                    <a:pt x="201" y="11"/>
                    <a:pt x="201" y="13"/>
                  </a:cubicBezTo>
                  <a:lnTo>
                    <a:pt x="201" y="226"/>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solidFill>
                  <a:srgbClr val="000000"/>
                </a:solidFill>
                <a:latin typeface="Open Sans"/>
              </a:endParaRPr>
            </a:p>
          </p:txBody>
        </p:sp>
      </p:grpSp>
      <p:grpSp>
        <p:nvGrpSpPr>
          <p:cNvPr id="104" name="Group 103">
            <a:extLst>
              <a:ext uri="{FF2B5EF4-FFF2-40B4-BE49-F238E27FC236}">
                <a16:creationId xmlns:a16="http://schemas.microsoft.com/office/drawing/2014/main" id="{3C57B5BB-9513-48D1-A1CB-8C7D6F877540}"/>
              </a:ext>
            </a:extLst>
          </p:cNvPr>
          <p:cNvGrpSpPr/>
          <p:nvPr/>
        </p:nvGrpSpPr>
        <p:grpSpPr>
          <a:xfrm>
            <a:off x="999223" y="2598212"/>
            <a:ext cx="233994" cy="217095"/>
            <a:chOff x="10845801" y="7108825"/>
            <a:chExt cx="500063" cy="495301"/>
          </a:xfrm>
        </p:grpSpPr>
        <p:sp>
          <p:nvSpPr>
            <p:cNvPr id="105" name="Freeform 498">
              <a:extLst>
                <a:ext uri="{FF2B5EF4-FFF2-40B4-BE49-F238E27FC236}">
                  <a16:creationId xmlns:a16="http://schemas.microsoft.com/office/drawing/2014/main" id="{7C73BF2B-0336-4D47-855D-01B9C36405B4}"/>
                </a:ext>
              </a:extLst>
            </p:cNvPr>
            <p:cNvSpPr>
              <a:spLocks noEditPoints="1"/>
            </p:cNvSpPr>
            <p:nvPr/>
          </p:nvSpPr>
          <p:spPr bwMode="auto">
            <a:xfrm>
              <a:off x="10966451" y="7169150"/>
              <a:ext cx="192088" cy="192088"/>
            </a:xfrm>
            <a:custGeom>
              <a:avLst/>
              <a:gdLst>
                <a:gd name="T0" fmla="*/ 7 w 92"/>
                <a:gd name="T1" fmla="*/ 92 h 92"/>
                <a:gd name="T2" fmla="*/ 84 w 92"/>
                <a:gd name="T3" fmla="*/ 92 h 92"/>
                <a:gd name="T4" fmla="*/ 92 w 92"/>
                <a:gd name="T5" fmla="*/ 84 h 92"/>
                <a:gd name="T6" fmla="*/ 92 w 92"/>
                <a:gd name="T7" fmla="*/ 74 h 92"/>
                <a:gd name="T8" fmla="*/ 87 w 92"/>
                <a:gd name="T9" fmla="*/ 67 h 92"/>
                <a:gd name="T10" fmla="*/ 61 w 92"/>
                <a:gd name="T11" fmla="*/ 54 h 92"/>
                <a:gd name="T12" fmla="*/ 61 w 92"/>
                <a:gd name="T13" fmla="*/ 53 h 92"/>
                <a:gd name="T14" fmla="*/ 67 w 92"/>
                <a:gd name="T15" fmla="*/ 43 h 92"/>
                <a:gd name="T16" fmla="*/ 70 w 92"/>
                <a:gd name="T17" fmla="*/ 34 h 92"/>
                <a:gd name="T18" fmla="*/ 68 w 92"/>
                <a:gd name="T19" fmla="*/ 29 h 92"/>
                <a:gd name="T20" fmla="*/ 68 w 92"/>
                <a:gd name="T21" fmla="*/ 21 h 92"/>
                <a:gd name="T22" fmla="*/ 46 w 92"/>
                <a:gd name="T23" fmla="*/ 0 h 92"/>
                <a:gd name="T24" fmla="*/ 23 w 92"/>
                <a:gd name="T25" fmla="*/ 21 h 92"/>
                <a:gd name="T26" fmla="*/ 23 w 92"/>
                <a:gd name="T27" fmla="*/ 29 h 92"/>
                <a:gd name="T28" fmla="*/ 22 w 92"/>
                <a:gd name="T29" fmla="*/ 34 h 92"/>
                <a:gd name="T30" fmla="*/ 25 w 92"/>
                <a:gd name="T31" fmla="*/ 43 h 92"/>
                <a:gd name="T32" fmla="*/ 31 w 92"/>
                <a:gd name="T33" fmla="*/ 53 h 92"/>
                <a:gd name="T34" fmla="*/ 31 w 92"/>
                <a:gd name="T35" fmla="*/ 54 h 92"/>
                <a:gd name="T36" fmla="*/ 5 w 92"/>
                <a:gd name="T37" fmla="*/ 67 h 92"/>
                <a:gd name="T38" fmla="*/ 0 w 92"/>
                <a:gd name="T39" fmla="*/ 74 h 92"/>
                <a:gd name="T40" fmla="*/ 0 w 92"/>
                <a:gd name="T41" fmla="*/ 84 h 92"/>
                <a:gd name="T42" fmla="*/ 7 w 92"/>
                <a:gd name="T43" fmla="*/ 92 h 92"/>
                <a:gd name="T44" fmla="*/ 9 w 92"/>
                <a:gd name="T45" fmla="*/ 75 h 92"/>
                <a:gd name="T46" fmla="*/ 40 w 92"/>
                <a:gd name="T47" fmla="*/ 57 h 92"/>
                <a:gd name="T48" fmla="*/ 41 w 92"/>
                <a:gd name="T49" fmla="*/ 56 h 92"/>
                <a:gd name="T50" fmla="*/ 41 w 92"/>
                <a:gd name="T51" fmla="*/ 51 h 92"/>
                <a:gd name="T52" fmla="*/ 39 w 92"/>
                <a:gd name="T53" fmla="*/ 48 h 92"/>
                <a:gd name="T54" fmla="*/ 34 w 92"/>
                <a:gd name="T55" fmla="*/ 39 h 92"/>
                <a:gd name="T56" fmla="*/ 32 w 92"/>
                <a:gd name="T57" fmla="*/ 36 h 92"/>
                <a:gd name="T58" fmla="*/ 31 w 92"/>
                <a:gd name="T59" fmla="*/ 34 h 92"/>
                <a:gd name="T60" fmla="*/ 32 w 92"/>
                <a:gd name="T61" fmla="*/ 33 h 92"/>
                <a:gd name="T62" fmla="*/ 33 w 92"/>
                <a:gd name="T63" fmla="*/ 30 h 92"/>
                <a:gd name="T64" fmla="*/ 33 w 92"/>
                <a:gd name="T65" fmla="*/ 21 h 92"/>
                <a:gd name="T66" fmla="*/ 46 w 92"/>
                <a:gd name="T67" fmla="*/ 9 h 92"/>
                <a:gd name="T68" fmla="*/ 59 w 92"/>
                <a:gd name="T69" fmla="*/ 21 h 92"/>
                <a:gd name="T70" fmla="*/ 59 w 92"/>
                <a:gd name="T71" fmla="*/ 30 h 92"/>
                <a:gd name="T72" fmla="*/ 60 w 92"/>
                <a:gd name="T73" fmla="*/ 33 h 92"/>
                <a:gd name="T74" fmla="*/ 60 w 92"/>
                <a:gd name="T75" fmla="*/ 34 h 92"/>
                <a:gd name="T76" fmla="*/ 60 w 92"/>
                <a:gd name="T77" fmla="*/ 36 h 92"/>
                <a:gd name="T78" fmla="*/ 58 w 92"/>
                <a:gd name="T79" fmla="*/ 39 h 92"/>
                <a:gd name="T80" fmla="*/ 53 w 92"/>
                <a:gd name="T81" fmla="*/ 48 h 92"/>
                <a:gd name="T82" fmla="*/ 51 w 92"/>
                <a:gd name="T83" fmla="*/ 51 h 92"/>
                <a:gd name="T84" fmla="*/ 51 w 92"/>
                <a:gd name="T85" fmla="*/ 56 h 92"/>
                <a:gd name="T86" fmla="*/ 51 w 92"/>
                <a:gd name="T87" fmla="*/ 57 h 92"/>
                <a:gd name="T88" fmla="*/ 83 w 92"/>
                <a:gd name="T89" fmla="*/ 75 h 92"/>
                <a:gd name="T90" fmla="*/ 83 w 92"/>
                <a:gd name="T91" fmla="*/ 82 h 92"/>
                <a:gd name="T92" fmla="*/ 9 w 92"/>
                <a:gd name="T93" fmla="*/ 82 h 92"/>
                <a:gd name="T94" fmla="*/ 9 w 92"/>
                <a:gd name="T95" fmla="*/ 7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 h="92">
                  <a:moveTo>
                    <a:pt x="7" y="92"/>
                  </a:moveTo>
                  <a:cubicBezTo>
                    <a:pt x="84" y="92"/>
                    <a:pt x="84" y="92"/>
                    <a:pt x="84" y="92"/>
                  </a:cubicBezTo>
                  <a:cubicBezTo>
                    <a:pt x="89" y="92"/>
                    <a:pt x="92" y="89"/>
                    <a:pt x="92" y="84"/>
                  </a:cubicBezTo>
                  <a:cubicBezTo>
                    <a:pt x="92" y="74"/>
                    <a:pt x="92" y="74"/>
                    <a:pt x="92" y="74"/>
                  </a:cubicBezTo>
                  <a:cubicBezTo>
                    <a:pt x="92" y="71"/>
                    <a:pt x="90" y="68"/>
                    <a:pt x="87" y="67"/>
                  </a:cubicBezTo>
                  <a:cubicBezTo>
                    <a:pt x="68" y="59"/>
                    <a:pt x="62" y="55"/>
                    <a:pt x="61" y="54"/>
                  </a:cubicBezTo>
                  <a:cubicBezTo>
                    <a:pt x="61" y="53"/>
                    <a:pt x="61" y="53"/>
                    <a:pt x="61" y="53"/>
                  </a:cubicBezTo>
                  <a:cubicBezTo>
                    <a:pt x="63" y="50"/>
                    <a:pt x="65" y="47"/>
                    <a:pt x="67" y="43"/>
                  </a:cubicBezTo>
                  <a:cubicBezTo>
                    <a:pt x="69" y="41"/>
                    <a:pt x="70" y="38"/>
                    <a:pt x="70" y="34"/>
                  </a:cubicBezTo>
                  <a:cubicBezTo>
                    <a:pt x="70" y="32"/>
                    <a:pt x="69" y="30"/>
                    <a:pt x="68" y="29"/>
                  </a:cubicBezTo>
                  <a:cubicBezTo>
                    <a:pt x="68" y="21"/>
                    <a:pt x="68" y="21"/>
                    <a:pt x="68" y="21"/>
                  </a:cubicBezTo>
                  <a:cubicBezTo>
                    <a:pt x="68" y="8"/>
                    <a:pt x="60" y="0"/>
                    <a:pt x="46" y="0"/>
                  </a:cubicBezTo>
                  <a:cubicBezTo>
                    <a:pt x="32" y="0"/>
                    <a:pt x="23" y="8"/>
                    <a:pt x="23" y="21"/>
                  </a:cubicBezTo>
                  <a:cubicBezTo>
                    <a:pt x="23" y="29"/>
                    <a:pt x="23" y="29"/>
                    <a:pt x="23" y="29"/>
                  </a:cubicBezTo>
                  <a:cubicBezTo>
                    <a:pt x="22" y="30"/>
                    <a:pt x="22" y="32"/>
                    <a:pt x="22" y="34"/>
                  </a:cubicBezTo>
                  <a:cubicBezTo>
                    <a:pt x="22" y="38"/>
                    <a:pt x="23" y="41"/>
                    <a:pt x="25" y="43"/>
                  </a:cubicBezTo>
                  <a:cubicBezTo>
                    <a:pt x="27" y="47"/>
                    <a:pt x="29" y="50"/>
                    <a:pt x="31" y="53"/>
                  </a:cubicBezTo>
                  <a:cubicBezTo>
                    <a:pt x="31" y="54"/>
                    <a:pt x="31" y="54"/>
                    <a:pt x="31" y="54"/>
                  </a:cubicBezTo>
                  <a:cubicBezTo>
                    <a:pt x="29" y="55"/>
                    <a:pt x="24" y="59"/>
                    <a:pt x="5" y="67"/>
                  </a:cubicBezTo>
                  <a:cubicBezTo>
                    <a:pt x="2" y="68"/>
                    <a:pt x="0" y="71"/>
                    <a:pt x="0" y="74"/>
                  </a:cubicBezTo>
                  <a:cubicBezTo>
                    <a:pt x="0" y="84"/>
                    <a:pt x="0" y="84"/>
                    <a:pt x="0" y="84"/>
                  </a:cubicBezTo>
                  <a:cubicBezTo>
                    <a:pt x="0" y="89"/>
                    <a:pt x="3" y="92"/>
                    <a:pt x="7" y="92"/>
                  </a:cubicBezTo>
                  <a:close/>
                  <a:moveTo>
                    <a:pt x="9" y="75"/>
                  </a:moveTo>
                  <a:cubicBezTo>
                    <a:pt x="36" y="65"/>
                    <a:pt x="39" y="60"/>
                    <a:pt x="40" y="57"/>
                  </a:cubicBezTo>
                  <a:cubicBezTo>
                    <a:pt x="41" y="57"/>
                    <a:pt x="41" y="56"/>
                    <a:pt x="41" y="56"/>
                  </a:cubicBezTo>
                  <a:cubicBezTo>
                    <a:pt x="41" y="51"/>
                    <a:pt x="41" y="51"/>
                    <a:pt x="41" y="51"/>
                  </a:cubicBezTo>
                  <a:cubicBezTo>
                    <a:pt x="41" y="50"/>
                    <a:pt x="40" y="49"/>
                    <a:pt x="39" y="48"/>
                  </a:cubicBezTo>
                  <a:cubicBezTo>
                    <a:pt x="37" y="46"/>
                    <a:pt x="35" y="42"/>
                    <a:pt x="34" y="39"/>
                  </a:cubicBezTo>
                  <a:cubicBezTo>
                    <a:pt x="34" y="38"/>
                    <a:pt x="33" y="37"/>
                    <a:pt x="32" y="36"/>
                  </a:cubicBezTo>
                  <a:cubicBezTo>
                    <a:pt x="32" y="36"/>
                    <a:pt x="31" y="35"/>
                    <a:pt x="31" y="34"/>
                  </a:cubicBezTo>
                  <a:cubicBezTo>
                    <a:pt x="31" y="34"/>
                    <a:pt x="32" y="33"/>
                    <a:pt x="32" y="33"/>
                  </a:cubicBezTo>
                  <a:cubicBezTo>
                    <a:pt x="33" y="32"/>
                    <a:pt x="33" y="31"/>
                    <a:pt x="33" y="30"/>
                  </a:cubicBezTo>
                  <a:cubicBezTo>
                    <a:pt x="33" y="21"/>
                    <a:pt x="33" y="21"/>
                    <a:pt x="33" y="21"/>
                  </a:cubicBezTo>
                  <a:cubicBezTo>
                    <a:pt x="33" y="13"/>
                    <a:pt x="37" y="9"/>
                    <a:pt x="46" y="9"/>
                  </a:cubicBezTo>
                  <a:cubicBezTo>
                    <a:pt x="55" y="9"/>
                    <a:pt x="59" y="13"/>
                    <a:pt x="59" y="21"/>
                  </a:cubicBezTo>
                  <a:cubicBezTo>
                    <a:pt x="59" y="30"/>
                    <a:pt x="59" y="30"/>
                    <a:pt x="59" y="30"/>
                  </a:cubicBezTo>
                  <a:cubicBezTo>
                    <a:pt x="59" y="31"/>
                    <a:pt x="59" y="32"/>
                    <a:pt x="60" y="33"/>
                  </a:cubicBezTo>
                  <a:cubicBezTo>
                    <a:pt x="60" y="33"/>
                    <a:pt x="60" y="34"/>
                    <a:pt x="60" y="34"/>
                  </a:cubicBezTo>
                  <a:cubicBezTo>
                    <a:pt x="60" y="35"/>
                    <a:pt x="60" y="36"/>
                    <a:pt x="60" y="36"/>
                  </a:cubicBezTo>
                  <a:cubicBezTo>
                    <a:pt x="59" y="37"/>
                    <a:pt x="58" y="38"/>
                    <a:pt x="58" y="39"/>
                  </a:cubicBezTo>
                  <a:cubicBezTo>
                    <a:pt x="57" y="42"/>
                    <a:pt x="55" y="46"/>
                    <a:pt x="53" y="48"/>
                  </a:cubicBezTo>
                  <a:cubicBezTo>
                    <a:pt x="52" y="49"/>
                    <a:pt x="51" y="50"/>
                    <a:pt x="51" y="51"/>
                  </a:cubicBezTo>
                  <a:cubicBezTo>
                    <a:pt x="51" y="56"/>
                    <a:pt x="51" y="56"/>
                    <a:pt x="51" y="56"/>
                  </a:cubicBezTo>
                  <a:cubicBezTo>
                    <a:pt x="51" y="56"/>
                    <a:pt x="51" y="57"/>
                    <a:pt x="51" y="57"/>
                  </a:cubicBezTo>
                  <a:cubicBezTo>
                    <a:pt x="53" y="60"/>
                    <a:pt x="56" y="65"/>
                    <a:pt x="83" y="75"/>
                  </a:cubicBezTo>
                  <a:cubicBezTo>
                    <a:pt x="83" y="82"/>
                    <a:pt x="83" y="82"/>
                    <a:pt x="83" y="82"/>
                  </a:cubicBezTo>
                  <a:cubicBezTo>
                    <a:pt x="9" y="82"/>
                    <a:pt x="9" y="82"/>
                    <a:pt x="9" y="82"/>
                  </a:cubicBezTo>
                  <a:lnTo>
                    <a:pt x="9" y="75"/>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solidFill>
                  <a:srgbClr val="000000"/>
                </a:solidFill>
                <a:latin typeface="Open Sans"/>
              </a:endParaRPr>
            </a:p>
          </p:txBody>
        </p:sp>
        <p:sp>
          <p:nvSpPr>
            <p:cNvPr id="106" name="Freeform 499">
              <a:extLst>
                <a:ext uri="{FF2B5EF4-FFF2-40B4-BE49-F238E27FC236}">
                  <a16:creationId xmlns:a16="http://schemas.microsoft.com/office/drawing/2014/main" id="{4397FDF0-A322-4A6D-AE1D-A3F314B1D4ED}"/>
                </a:ext>
              </a:extLst>
            </p:cNvPr>
            <p:cNvSpPr>
              <a:spLocks/>
            </p:cNvSpPr>
            <p:nvPr/>
          </p:nvSpPr>
          <p:spPr bwMode="auto">
            <a:xfrm>
              <a:off x="11118851" y="7208838"/>
              <a:ext cx="115888" cy="152400"/>
            </a:xfrm>
            <a:custGeom>
              <a:avLst/>
              <a:gdLst>
                <a:gd name="T0" fmla="*/ 5 w 56"/>
                <a:gd name="T1" fmla="*/ 40 h 73"/>
                <a:gd name="T2" fmla="*/ 11 w 56"/>
                <a:gd name="T3" fmla="*/ 41 h 73"/>
                <a:gd name="T4" fmla="*/ 13 w 56"/>
                <a:gd name="T5" fmla="*/ 35 h 73"/>
                <a:gd name="T6" fmla="*/ 11 w 56"/>
                <a:gd name="T7" fmla="*/ 31 h 73"/>
                <a:gd name="T8" fmla="*/ 10 w 56"/>
                <a:gd name="T9" fmla="*/ 28 h 73"/>
                <a:gd name="T10" fmla="*/ 11 w 56"/>
                <a:gd name="T11" fmla="*/ 24 h 73"/>
                <a:gd name="T12" fmla="*/ 11 w 56"/>
                <a:gd name="T13" fmla="*/ 17 h 73"/>
                <a:gd name="T14" fmla="*/ 19 w 56"/>
                <a:gd name="T15" fmla="*/ 10 h 73"/>
                <a:gd name="T16" fmla="*/ 28 w 56"/>
                <a:gd name="T17" fmla="*/ 17 h 73"/>
                <a:gd name="T18" fmla="*/ 28 w 56"/>
                <a:gd name="T19" fmla="*/ 24 h 73"/>
                <a:gd name="T20" fmla="*/ 29 w 56"/>
                <a:gd name="T21" fmla="*/ 28 h 73"/>
                <a:gd name="T22" fmla="*/ 27 w 56"/>
                <a:gd name="T23" fmla="*/ 31 h 73"/>
                <a:gd name="T24" fmla="*/ 24 w 56"/>
                <a:gd name="T25" fmla="*/ 37 h 73"/>
                <a:gd name="T26" fmla="*/ 22 w 56"/>
                <a:gd name="T27" fmla="*/ 41 h 73"/>
                <a:gd name="T28" fmla="*/ 22 w 56"/>
                <a:gd name="T29" fmla="*/ 44 h 73"/>
                <a:gd name="T30" fmla="*/ 23 w 56"/>
                <a:gd name="T31" fmla="*/ 45 h 73"/>
                <a:gd name="T32" fmla="*/ 46 w 56"/>
                <a:gd name="T33" fmla="*/ 60 h 73"/>
                <a:gd name="T34" fmla="*/ 46 w 56"/>
                <a:gd name="T35" fmla="*/ 63 h 73"/>
                <a:gd name="T36" fmla="*/ 29 w 56"/>
                <a:gd name="T37" fmla="*/ 63 h 73"/>
                <a:gd name="T38" fmla="*/ 24 w 56"/>
                <a:gd name="T39" fmla="*/ 68 h 73"/>
                <a:gd name="T40" fmla="*/ 29 w 56"/>
                <a:gd name="T41" fmla="*/ 73 h 73"/>
                <a:gd name="T42" fmla="*/ 49 w 56"/>
                <a:gd name="T43" fmla="*/ 73 h 73"/>
                <a:gd name="T44" fmla="*/ 56 w 56"/>
                <a:gd name="T45" fmla="*/ 66 h 73"/>
                <a:gd name="T46" fmla="*/ 56 w 56"/>
                <a:gd name="T47" fmla="*/ 58 h 73"/>
                <a:gd name="T48" fmla="*/ 51 w 56"/>
                <a:gd name="T49" fmla="*/ 51 h 73"/>
                <a:gd name="T50" fmla="*/ 32 w 56"/>
                <a:gd name="T51" fmla="*/ 42 h 73"/>
                <a:gd name="T52" fmla="*/ 36 w 56"/>
                <a:gd name="T53" fmla="*/ 35 h 73"/>
                <a:gd name="T54" fmla="*/ 39 w 56"/>
                <a:gd name="T55" fmla="*/ 28 h 73"/>
                <a:gd name="T56" fmla="*/ 38 w 56"/>
                <a:gd name="T57" fmla="*/ 23 h 73"/>
                <a:gd name="T58" fmla="*/ 38 w 56"/>
                <a:gd name="T59" fmla="*/ 17 h 73"/>
                <a:gd name="T60" fmla="*/ 19 w 56"/>
                <a:gd name="T61" fmla="*/ 0 h 73"/>
                <a:gd name="T62" fmla="*/ 1 w 56"/>
                <a:gd name="T63" fmla="*/ 17 h 73"/>
                <a:gd name="T64" fmla="*/ 1 w 56"/>
                <a:gd name="T65" fmla="*/ 23 h 73"/>
                <a:gd name="T66" fmla="*/ 0 w 56"/>
                <a:gd name="T67" fmla="*/ 28 h 73"/>
                <a:gd name="T68" fmla="*/ 3 w 56"/>
                <a:gd name="T69" fmla="*/ 35 h 73"/>
                <a:gd name="T70" fmla="*/ 5 w 56"/>
                <a:gd name="T71" fmla="*/ 4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 h="73">
                  <a:moveTo>
                    <a:pt x="5" y="40"/>
                  </a:moveTo>
                  <a:cubicBezTo>
                    <a:pt x="6" y="42"/>
                    <a:pt x="9" y="43"/>
                    <a:pt x="11" y="41"/>
                  </a:cubicBezTo>
                  <a:cubicBezTo>
                    <a:pt x="14" y="40"/>
                    <a:pt x="14" y="37"/>
                    <a:pt x="13" y="35"/>
                  </a:cubicBezTo>
                  <a:cubicBezTo>
                    <a:pt x="12" y="34"/>
                    <a:pt x="12" y="32"/>
                    <a:pt x="11" y="31"/>
                  </a:cubicBezTo>
                  <a:cubicBezTo>
                    <a:pt x="11" y="30"/>
                    <a:pt x="10" y="28"/>
                    <a:pt x="10" y="28"/>
                  </a:cubicBezTo>
                  <a:cubicBezTo>
                    <a:pt x="10" y="27"/>
                    <a:pt x="11" y="26"/>
                    <a:pt x="11" y="24"/>
                  </a:cubicBezTo>
                  <a:cubicBezTo>
                    <a:pt x="11" y="17"/>
                    <a:pt x="11" y="17"/>
                    <a:pt x="11" y="17"/>
                  </a:cubicBezTo>
                  <a:cubicBezTo>
                    <a:pt x="11" y="14"/>
                    <a:pt x="12" y="10"/>
                    <a:pt x="19" y="10"/>
                  </a:cubicBezTo>
                  <a:cubicBezTo>
                    <a:pt x="27" y="10"/>
                    <a:pt x="28" y="14"/>
                    <a:pt x="28" y="17"/>
                  </a:cubicBezTo>
                  <a:cubicBezTo>
                    <a:pt x="28" y="24"/>
                    <a:pt x="28" y="24"/>
                    <a:pt x="28" y="24"/>
                  </a:cubicBezTo>
                  <a:cubicBezTo>
                    <a:pt x="28" y="26"/>
                    <a:pt x="28" y="27"/>
                    <a:pt x="29" y="28"/>
                  </a:cubicBezTo>
                  <a:cubicBezTo>
                    <a:pt x="28" y="29"/>
                    <a:pt x="28" y="30"/>
                    <a:pt x="27" y="31"/>
                  </a:cubicBezTo>
                  <a:cubicBezTo>
                    <a:pt x="27" y="33"/>
                    <a:pt x="25" y="36"/>
                    <a:pt x="24" y="37"/>
                  </a:cubicBezTo>
                  <a:cubicBezTo>
                    <a:pt x="23" y="38"/>
                    <a:pt x="22" y="40"/>
                    <a:pt x="22" y="41"/>
                  </a:cubicBezTo>
                  <a:cubicBezTo>
                    <a:pt x="22" y="44"/>
                    <a:pt x="22" y="44"/>
                    <a:pt x="22" y="44"/>
                  </a:cubicBezTo>
                  <a:cubicBezTo>
                    <a:pt x="22" y="44"/>
                    <a:pt x="22" y="45"/>
                    <a:pt x="23" y="45"/>
                  </a:cubicBezTo>
                  <a:cubicBezTo>
                    <a:pt x="23" y="48"/>
                    <a:pt x="26" y="52"/>
                    <a:pt x="46" y="60"/>
                  </a:cubicBezTo>
                  <a:cubicBezTo>
                    <a:pt x="46" y="63"/>
                    <a:pt x="46" y="63"/>
                    <a:pt x="46" y="63"/>
                  </a:cubicBezTo>
                  <a:cubicBezTo>
                    <a:pt x="29" y="63"/>
                    <a:pt x="29" y="63"/>
                    <a:pt x="29" y="63"/>
                  </a:cubicBezTo>
                  <a:cubicBezTo>
                    <a:pt x="26" y="63"/>
                    <a:pt x="24" y="66"/>
                    <a:pt x="24" y="68"/>
                  </a:cubicBezTo>
                  <a:cubicBezTo>
                    <a:pt x="24" y="71"/>
                    <a:pt x="26" y="73"/>
                    <a:pt x="29" y="73"/>
                  </a:cubicBezTo>
                  <a:cubicBezTo>
                    <a:pt x="49" y="73"/>
                    <a:pt x="49" y="73"/>
                    <a:pt x="49" y="73"/>
                  </a:cubicBezTo>
                  <a:cubicBezTo>
                    <a:pt x="53" y="73"/>
                    <a:pt x="56" y="70"/>
                    <a:pt x="56" y="66"/>
                  </a:cubicBezTo>
                  <a:cubicBezTo>
                    <a:pt x="56" y="58"/>
                    <a:pt x="56" y="58"/>
                    <a:pt x="56" y="58"/>
                  </a:cubicBezTo>
                  <a:cubicBezTo>
                    <a:pt x="56" y="55"/>
                    <a:pt x="54" y="52"/>
                    <a:pt x="51" y="51"/>
                  </a:cubicBezTo>
                  <a:cubicBezTo>
                    <a:pt x="38" y="46"/>
                    <a:pt x="34" y="44"/>
                    <a:pt x="32" y="42"/>
                  </a:cubicBezTo>
                  <a:cubicBezTo>
                    <a:pt x="34" y="40"/>
                    <a:pt x="35" y="38"/>
                    <a:pt x="36" y="35"/>
                  </a:cubicBezTo>
                  <a:cubicBezTo>
                    <a:pt x="38" y="33"/>
                    <a:pt x="39" y="30"/>
                    <a:pt x="39" y="28"/>
                  </a:cubicBezTo>
                  <a:cubicBezTo>
                    <a:pt x="39" y="26"/>
                    <a:pt x="39" y="25"/>
                    <a:pt x="38" y="23"/>
                  </a:cubicBezTo>
                  <a:cubicBezTo>
                    <a:pt x="38" y="17"/>
                    <a:pt x="38" y="17"/>
                    <a:pt x="38" y="17"/>
                  </a:cubicBezTo>
                  <a:cubicBezTo>
                    <a:pt x="38" y="7"/>
                    <a:pt x="31" y="0"/>
                    <a:pt x="19" y="0"/>
                  </a:cubicBezTo>
                  <a:cubicBezTo>
                    <a:pt x="8" y="0"/>
                    <a:pt x="1" y="7"/>
                    <a:pt x="1" y="17"/>
                  </a:cubicBezTo>
                  <a:cubicBezTo>
                    <a:pt x="1" y="23"/>
                    <a:pt x="1" y="23"/>
                    <a:pt x="1" y="23"/>
                  </a:cubicBezTo>
                  <a:cubicBezTo>
                    <a:pt x="0" y="25"/>
                    <a:pt x="0" y="26"/>
                    <a:pt x="0" y="28"/>
                  </a:cubicBezTo>
                  <a:cubicBezTo>
                    <a:pt x="0" y="30"/>
                    <a:pt x="1" y="33"/>
                    <a:pt x="3" y="35"/>
                  </a:cubicBezTo>
                  <a:cubicBezTo>
                    <a:pt x="3" y="36"/>
                    <a:pt x="4" y="38"/>
                    <a:pt x="5" y="4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solidFill>
                  <a:srgbClr val="000000"/>
                </a:solidFill>
                <a:latin typeface="Open Sans"/>
              </a:endParaRPr>
            </a:p>
          </p:txBody>
        </p:sp>
        <p:sp>
          <p:nvSpPr>
            <p:cNvPr id="107" name="Freeform 500">
              <a:extLst>
                <a:ext uri="{FF2B5EF4-FFF2-40B4-BE49-F238E27FC236}">
                  <a16:creationId xmlns:a16="http://schemas.microsoft.com/office/drawing/2014/main" id="{699B9EF1-7788-4708-A9AA-0EE8A52A6970}"/>
                </a:ext>
              </a:extLst>
            </p:cNvPr>
            <p:cNvSpPr>
              <a:spLocks/>
            </p:cNvSpPr>
            <p:nvPr/>
          </p:nvSpPr>
          <p:spPr bwMode="auto">
            <a:xfrm>
              <a:off x="10999788" y="7513638"/>
              <a:ext cx="192088" cy="90488"/>
            </a:xfrm>
            <a:custGeom>
              <a:avLst/>
              <a:gdLst>
                <a:gd name="T0" fmla="*/ 87 w 92"/>
                <a:gd name="T1" fmla="*/ 4 h 43"/>
                <a:gd name="T2" fmla="*/ 81 w 92"/>
                <a:gd name="T3" fmla="*/ 0 h 43"/>
                <a:gd name="T4" fmla="*/ 77 w 92"/>
                <a:gd name="T5" fmla="*/ 6 h 43"/>
                <a:gd name="T6" fmla="*/ 82 w 92"/>
                <a:gd name="T7" fmla="*/ 33 h 43"/>
                <a:gd name="T8" fmla="*/ 10 w 92"/>
                <a:gd name="T9" fmla="*/ 33 h 43"/>
                <a:gd name="T10" fmla="*/ 14 w 92"/>
                <a:gd name="T11" fmla="*/ 6 h 43"/>
                <a:gd name="T12" fmla="*/ 10 w 92"/>
                <a:gd name="T13" fmla="*/ 0 h 43"/>
                <a:gd name="T14" fmla="*/ 5 w 92"/>
                <a:gd name="T15" fmla="*/ 4 h 43"/>
                <a:gd name="T16" fmla="*/ 0 w 92"/>
                <a:gd name="T17" fmla="*/ 33 h 43"/>
                <a:gd name="T18" fmla="*/ 0 w 92"/>
                <a:gd name="T19" fmla="*/ 34 h 43"/>
                <a:gd name="T20" fmla="*/ 10 w 92"/>
                <a:gd name="T21" fmla="*/ 43 h 43"/>
                <a:gd name="T22" fmla="*/ 82 w 92"/>
                <a:gd name="T23" fmla="*/ 43 h 43"/>
                <a:gd name="T24" fmla="*/ 92 w 92"/>
                <a:gd name="T25" fmla="*/ 34 h 43"/>
                <a:gd name="T26" fmla="*/ 92 w 92"/>
                <a:gd name="T27" fmla="*/ 33 h 43"/>
                <a:gd name="T28" fmla="*/ 87 w 92"/>
                <a:gd name="T29"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 h="43">
                  <a:moveTo>
                    <a:pt x="87" y="4"/>
                  </a:moveTo>
                  <a:cubicBezTo>
                    <a:pt x="86" y="1"/>
                    <a:pt x="84" y="0"/>
                    <a:pt x="81" y="0"/>
                  </a:cubicBezTo>
                  <a:cubicBezTo>
                    <a:pt x="79" y="0"/>
                    <a:pt x="77" y="3"/>
                    <a:pt x="77" y="6"/>
                  </a:cubicBezTo>
                  <a:cubicBezTo>
                    <a:pt x="82" y="33"/>
                    <a:pt x="82" y="33"/>
                    <a:pt x="82" y="33"/>
                  </a:cubicBezTo>
                  <a:cubicBezTo>
                    <a:pt x="10" y="33"/>
                    <a:pt x="10" y="33"/>
                    <a:pt x="10" y="33"/>
                  </a:cubicBezTo>
                  <a:cubicBezTo>
                    <a:pt x="14" y="6"/>
                    <a:pt x="14" y="6"/>
                    <a:pt x="14" y="6"/>
                  </a:cubicBezTo>
                  <a:cubicBezTo>
                    <a:pt x="15" y="3"/>
                    <a:pt x="13" y="0"/>
                    <a:pt x="10" y="0"/>
                  </a:cubicBezTo>
                  <a:cubicBezTo>
                    <a:pt x="8" y="0"/>
                    <a:pt x="5" y="1"/>
                    <a:pt x="5" y="4"/>
                  </a:cubicBezTo>
                  <a:cubicBezTo>
                    <a:pt x="0" y="33"/>
                    <a:pt x="0" y="33"/>
                    <a:pt x="0" y="33"/>
                  </a:cubicBezTo>
                  <a:cubicBezTo>
                    <a:pt x="0" y="33"/>
                    <a:pt x="0" y="34"/>
                    <a:pt x="0" y="34"/>
                  </a:cubicBezTo>
                  <a:cubicBezTo>
                    <a:pt x="0" y="39"/>
                    <a:pt x="4" y="43"/>
                    <a:pt x="10" y="43"/>
                  </a:cubicBezTo>
                  <a:cubicBezTo>
                    <a:pt x="82" y="43"/>
                    <a:pt x="82" y="43"/>
                    <a:pt x="82" y="43"/>
                  </a:cubicBezTo>
                  <a:cubicBezTo>
                    <a:pt x="87" y="43"/>
                    <a:pt x="92" y="39"/>
                    <a:pt x="92" y="34"/>
                  </a:cubicBezTo>
                  <a:cubicBezTo>
                    <a:pt x="92" y="34"/>
                    <a:pt x="92" y="33"/>
                    <a:pt x="92" y="33"/>
                  </a:cubicBezTo>
                  <a:lnTo>
                    <a:pt x="87" y="4"/>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solidFill>
                  <a:srgbClr val="000000"/>
                </a:solidFill>
                <a:latin typeface="Open Sans"/>
              </a:endParaRPr>
            </a:p>
          </p:txBody>
        </p:sp>
        <p:sp>
          <p:nvSpPr>
            <p:cNvPr id="108" name="Freeform 501">
              <a:extLst>
                <a:ext uri="{FF2B5EF4-FFF2-40B4-BE49-F238E27FC236}">
                  <a16:creationId xmlns:a16="http://schemas.microsoft.com/office/drawing/2014/main" id="{47FCA2FC-0273-452B-89A7-C07E2EFF45A0}"/>
                </a:ext>
              </a:extLst>
            </p:cNvPr>
            <p:cNvSpPr>
              <a:spLocks noEditPoints="1"/>
            </p:cNvSpPr>
            <p:nvPr/>
          </p:nvSpPr>
          <p:spPr bwMode="auto">
            <a:xfrm>
              <a:off x="10845801" y="7108825"/>
              <a:ext cx="500063" cy="376238"/>
            </a:xfrm>
            <a:custGeom>
              <a:avLst/>
              <a:gdLst>
                <a:gd name="T0" fmla="*/ 219 w 240"/>
                <a:gd name="T1" fmla="*/ 0 h 180"/>
                <a:gd name="T2" fmla="*/ 21 w 240"/>
                <a:gd name="T3" fmla="*/ 0 h 180"/>
                <a:gd name="T4" fmla="*/ 0 w 240"/>
                <a:gd name="T5" fmla="*/ 21 h 180"/>
                <a:gd name="T6" fmla="*/ 0 w 240"/>
                <a:gd name="T7" fmla="*/ 158 h 180"/>
                <a:gd name="T8" fmla="*/ 21 w 240"/>
                <a:gd name="T9" fmla="*/ 180 h 180"/>
                <a:gd name="T10" fmla="*/ 219 w 240"/>
                <a:gd name="T11" fmla="*/ 180 h 180"/>
                <a:gd name="T12" fmla="*/ 240 w 240"/>
                <a:gd name="T13" fmla="*/ 158 h 180"/>
                <a:gd name="T14" fmla="*/ 240 w 240"/>
                <a:gd name="T15" fmla="*/ 21 h 180"/>
                <a:gd name="T16" fmla="*/ 219 w 240"/>
                <a:gd name="T17" fmla="*/ 0 h 180"/>
                <a:gd name="T18" fmla="*/ 21 w 240"/>
                <a:gd name="T19" fmla="*/ 9 h 180"/>
                <a:gd name="T20" fmla="*/ 219 w 240"/>
                <a:gd name="T21" fmla="*/ 9 h 180"/>
                <a:gd name="T22" fmla="*/ 230 w 240"/>
                <a:gd name="T23" fmla="*/ 21 h 180"/>
                <a:gd name="T24" fmla="*/ 230 w 240"/>
                <a:gd name="T25" fmla="*/ 140 h 180"/>
                <a:gd name="T26" fmla="*/ 10 w 240"/>
                <a:gd name="T27" fmla="*/ 140 h 180"/>
                <a:gd name="T28" fmla="*/ 10 w 240"/>
                <a:gd name="T29" fmla="*/ 21 h 180"/>
                <a:gd name="T30" fmla="*/ 21 w 240"/>
                <a:gd name="T31" fmla="*/ 9 h 180"/>
                <a:gd name="T32" fmla="*/ 219 w 240"/>
                <a:gd name="T33" fmla="*/ 170 h 180"/>
                <a:gd name="T34" fmla="*/ 21 w 240"/>
                <a:gd name="T35" fmla="*/ 170 h 180"/>
                <a:gd name="T36" fmla="*/ 10 w 240"/>
                <a:gd name="T37" fmla="*/ 158 h 180"/>
                <a:gd name="T38" fmla="*/ 10 w 240"/>
                <a:gd name="T39" fmla="*/ 150 h 180"/>
                <a:gd name="T40" fmla="*/ 230 w 240"/>
                <a:gd name="T41" fmla="*/ 150 h 180"/>
                <a:gd name="T42" fmla="*/ 230 w 240"/>
                <a:gd name="T43" fmla="*/ 158 h 180"/>
                <a:gd name="T44" fmla="*/ 219 w 240"/>
                <a:gd name="T45" fmla="*/ 17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180">
                  <a:moveTo>
                    <a:pt x="219" y="0"/>
                  </a:moveTo>
                  <a:cubicBezTo>
                    <a:pt x="21" y="0"/>
                    <a:pt x="21" y="0"/>
                    <a:pt x="21" y="0"/>
                  </a:cubicBezTo>
                  <a:cubicBezTo>
                    <a:pt x="9" y="0"/>
                    <a:pt x="0" y="9"/>
                    <a:pt x="0" y="21"/>
                  </a:cubicBezTo>
                  <a:cubicBezTo>
                    <a:pt x="0" y="158"/>
                    <a:pt x="0" y="158"/>
                    <a:pt x="0" y="158"/>
                  </a:cubicBezTo>
                  <a:cubicBezTo>
                    <a:pt x="0" y="170"/>
                    <a:pt x="9" y="180"/>
                    <a:pt x="21" y="180"/>
                  </a:cubicBezTo>
                  <a:cubicBezTo>
                    <a:pt x="219" y="180"/>
                    <a:pt x="219" y="180"/>
                    <a:pt x="219" y="180"/>
                  </a:cubicBezTo>
                  <a:cubicBezTo>
                    <a:pt x="230" y="180"/>
                    <a:pt x="240" y="170"/>
                    <a:pt x="240" y="158"/>
                  </a:cubicBezTo>
                  <a:cubicBezTo>
                    <a:pt x="240" y="21"/>
                    <a:pt x="240" y="21"/>
                    <a:pt x="240" y="21"/>
                  </a:cubicBezTo>
                  <a:cubicBezTo>
                    <a:pt x="240" y="9"/>
                    <a:pt x="230" y="0"/>
                    <a:pt x="219" y="0"/>
                  </a:cubicBezTo>
                  <a:close/>
                  <a:moveTo>
                    <a:pt x="21" y="9"/>
                  </a:moveTo>
                  <a:cubicBezTo>
                    <a:pt x="219" y="9"/>
                    <a:pt x="219" y="9"/>
                    <a:pt x="219" y="9"/>
                  </a:cubicBezTo>
                  <a:cubicBezTo>
                    <a:pt x="225" y="9"/>
                    <a:pt x="230" y="15"/>
                    <a:pt x="230" y="21"/>
                  </a:cubicBezTo>
                  <a:cubicBezTo>
                    <a:pt x="230" y="140"/>
                    <a:pt x="230" y="140"/>
                    <a:pt x="230" y="140"/>
                  </a:cubicBezTo>
                  <a:cubicBezTo>
                    <a:pt x="10" y="140"/>
                    <a:pt x="10" y="140"/>
                    <a:pt x="10" y="140"/>
                  </a:cubicBezTo>
                  <a:cubicBezTo>
                    <a:pt x="10" y="21"/>
                    <a:pt x="10" y="21"/>
                    <a:pt x="10" y="21"/>
                  </a:cubicBezTo>
                  <a:cubicBezTo>
                    <a:pt x="10" y="15"/>
                    <a:pt x="15" y="9"/>
                    <a:pt x="21" y="9"/>
                  </a:cubicBezTo>
                  <a:close/>
                  <a:moveTo>
                    <a:pt x="219" y="170"/>
                  </a:moveTo>
                  <a:cubicBezTo>
                    <a:pt x="21" y="170"/>
                    <a:pt x="21" y="170"/>
                    <a:pt x="21" y="170"/>
                  </a:cubicBezTo>
                  <a:cubicBezTo>
                    <a:pt x="15" y="170"/>
                    <a:pt x="10" y="165"/>
                    <a:pt x="10" y="158"/>
                  </a:cubicBezTo>
                  <a:cubicBezTo>
                    <a:pt x="10" y="150"/>
                    <a:pt x="10" y="150"/>
                    <a:pt x="10" y="150"/>
                  </a:cubicBezTo>
                  <a:cubicBezTo>
                    <a:pt x="230" y="150"/>
                    <a:pt x="230" y="150"/>
                    <a:pt x="230" y="150"/>
                  </a:cubicBezTo>
                  <a:cubicBezTo>
                    <a:pt x="230" y="158"/>
                    <a:pt x="230" y="158"/>
                    <a:pt x="230" y="158"/>
                  </a:cubicBezTo>
                  <a:cubicBezTo>
                    <a:pt x="230" y="165"/>
                    <a:pt x="225" y="170"/>
                    <a:pt x="219" y="17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solidFill>
                  <a:srgbClr val="000000"/>
                </a:solidFill>
                <a:latin typeface="Open Sans"/>
              </a:endParaRPr>
            </a:p>
          </p:txBody>
        </p:sp>
      </p:grpSp>
      <p:grpSp>
        <p:nvGrpSpPr>
          <p:cNvPr id="109" name="Group 578">
            <a:extLst>
              <a:ext uri="{FF2B5EF4-FFF2-40B4-BE49-F238E27FC236}">
                <a16:creationId xmlns:a16="http://schemas.microsoft.com/office/drawing/2014/main" id="{94FA52A6-7C3F-4837-B27F-613FD8B2557D}"/>
              </a:ext>
            </a:extLst>
          </p:cNvPr>
          <p:cNvGrpSpPr>
            <a:grpSpLocks noChangeAspect="1"/>
          </p:cNvGrpSpPr>
          <p:nvPr/>
        </p:nvGrpSpPr>
        <p:grpSpPr bwMode="auto">
          <a:xfrm>
            <a:off x="920022" y="5099208"/>
            <a:ext cx="392397" cy="392397"/>
            <a:chOff x="1932" y="2478"/>
            <a:chExt cx="340" cy="340"/>
          </a:xfrm>
          <a:solidFill>
            <a:srgbClr val="000000"/>
          </a:solidFill>
        </p:grpSpPr>
        <p:sp>
          <p:nvSpPr>
            <p:cNvPr id="110" name="Freeform 579">
              <a:extLst>
                <a:ext uri="{FF2B5EF4-FFF2-40B4-BE49-F238E27FC236}">
                  <a16:creationId xmlns:a16="http://schemas.microsoft.com/office/drawing/2014/main" id="{806C6A3A-F28E-41B6-BCEB-A578752B8E11}"/>
                </a:ext>
              </a:extLst>
            </p:cNvPr>
            <p:cNvSpPr>
              <a:spLocks noEditPoints="1"/>
            </p:cNvSpPr>
            <p:nvPr/>
          </p:nvSpPr>
          <p:spPr bwMode="auto">
            <a:xfrm>
              <a:off x="1996" y="2548"/>
              <a:ext cx="202" cy="185"/>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a:endParaRPr>
            </a:p>
          </p:txBody>
        </p:sp>
        <p:sp>
          <p:nvSpPr>
            <p:cNvPr id="111" name="Freeform 580">
              <a:extLst>
                <a:ext uri="{FF2B5EF4-FFF2-40B4-BE49-F238E27FC236}">
                  <a16:creationId xmlns:a16="http://schemas.microsoft.com/office/drawing/2014/main" id="{2359E6AB-BBA8-4848-89A6-DF174C9EA24A}"/>
                </a:ext>
              </a:extLst>
            </p:cNvPr>
            <p:cNvSpPr>
              <a:spLocks noEditPoints="1"/>
            </p:cNvSpPr>
            <p:nvPr/>
          </p:nvSpPr>
          <p:spPr bwMode="auto">
            <a:xfrm>
              <a:off x="1932" y="247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a:endParaRPr>
            </a:p>
          </p:txBody>
        </p:sp>
      </p:grpSp>
      <p:sp>
        <p:nvSpPr>
          <p:cNvPr id="112" name="Freeform 580">
            <a:extLst>
              <a:ext uri="{FF2B5EF4-FFF2-40B4-BE49-F238E27FC236}">
                <a16:creationId xmlns:a16="http://schemas.microsoft.com/office/drawing/2014/main" id="{B3218C7D-6EBF-40F4-9047-0EEDC62B0570}"/>
              </a:ext>
            </a:extLst>
          </p:cNvPr>
          <p:cNvSpPr>
            <a:spLocks noEditPoints="1"/>
          </p:cNvSpPr>
          <p:nvPr/>
        </p:nvSpPr>
        <p:spPr bwMode="auto">
          <a:xfrm>
            <a:off x="920022" y="3640372"/>
            <a:ext cx="392397" cy="39239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a:endParaRPr>
          </a:p>
        </p:txBody>
      </p:sp>
      <p:sp>
        <p:nvSpPr>
          <p:cNvPr id="113" name="Freeform 580">
            <a:extLst>
              <a:ext uri="{FF2B5EF4-FFF2-40B4-BE49-F238E27FC236}">
                <a16:creationId xmlns:a16="http://schemas.microsoft.com/office/drawing/2014/main" id="{FBD415E9-2B7D-4E53-9662-4DA1BC3FE9E1}"/>
              </a:ext>
            </a:extLst>
          </p:cNvPr>
          <p:cNvSpPr>
            <a:spLocks noEditPoints="1"/>
          </p:cNvSpPr>
          <p:nvPr/>
        </p:nvSpPr>
        <p:spPr bwMode="auto">
          <a:xfrm>
            <a:off x="920022" y="2512291"/>
            <a:ext cx="392397" cy="39239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a:endParaRPr>
          </a:p>
        </p:txBody>
      </p:sp>
    </p:spTree>
    <p:extLst>
      <p:ext uri="{BB962C8B-B14F-4D97-AF65-F5344CB8AC3E}">
        <p14:creationId xmlns:p14="http://schemas.microsoft.com/office/powerpoint/2010/main" val="323704217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0">
            <a:extLst>
              <a:ext uri="{FF2B5EF4-FFF2-40B4-BE49-F238E27FC236}">
                <a16:creationId xmlns:a16="http://schemas.microsoft.com/office/drawing/2014/main" id="{54F0E06A-7E06-4475-B31E-2EC43034958C}"/>
              </a:ext>
            </a:extLst>
          </p:cNvPr>
          <p:cNvSpPr txBox="1">
            <a:spLocks/>
          </p:cNvSpPr>
          <p:nvPr/>
        </p:nvSpPr>
        <p:spPr>
          <a:xfrm>
            <a:off x="-1" y="165101"/>
            <a:ext cx="12191999" cy="409330"/>
          </a:xfrm>
          <a:prstGeom prst="rect">
            <a:avLst/>
          </a:prstGeom>
          <a:solidFill>
            <a:schemeClr val="tx1"/>
          </a:solidFill>
        </p:spPr>
        <p:txBody>
          <a:bodyPr vert="horz" lIns="0" tIns="45720" rIns="0" bIns="0" rtlCol="0" anchor="b" anchorCtr="0">
            <a:noAutofit/>
          </a:bodyPr>
          <a:lstStyle>
            <a:lvl1pPr algn="l" defTabSz="914400" rtl="0" eaLnBrk="1" latinLnBrk="0" hangingPunct="1">
              <a:lnSpc>
                <a:spcPct val="90000"/>
              </a:lnSpc>
              <a:spcBef>
                <a:spcPct val="0"/>
              </a:spcBef>
              <a:buNone/>
              <a:defRPr lang="en-US" sz="3600" b="0" kern="1200" spc="-75" dirty="0">
                <a:solidFill>
                  <a:schemeClr val="tx1"/>
                </a:solidFill>
                <a:latin typeface="+mj-lt"/>
                <a:ea typeface="+mj-ea"/>
                <a:cs typeface="+mj-cs"/>
              </a:defRPr>
            </a:lvl1pPr>
          </a:lstStyle>
          <a:p>
            <a:pPr algn="ctr"/>
            <a:r>
              <a:rPr lang="en-US" sz="2800" b="1" dirty="0">
                <a:solidFill>
                  <a:schemeClr val="bg1"/>
                </a:solidFill>
              </a:rPr>
              <a:t>Deloitte’s Offerings</a:t>
            </a:r>
          </a:p>
        </p:txBody>
      </p:sp>
      <p:pic>
        <p:nvPicPr>
          <p:cNvPr id="28" name="Picture 27">
            <a:extLst>
              <a:ext uri="{FF2B5EF4-FFF2-40B4-BE49-F238E27FC236}">
                <a16:creationId xmlns:a16="http://schemas.microsoft.com/office/drawing/2014/main" id="{A407B2AF-0953-4E9A-9E22-D7A08F8B0195}"/>
              </a:ext>
            </a:extLst>
          </p:cNvPr>
          <p:cNvPicPr>
            <a:picLocks noChangeAspect="1"/>
          </p:cNvPicPr>
          <p:nvPr/>
        </p:nvPicPr>
        <p:blipFill>
          <a:blip r:embed="rId3"/>
          <a:stretch>
            <a:fillRect/>
          </a:stretch>
        </p:blipFill>
        <p:spPr>
          <a:xfrm>
            <a:off x="337678" y="6426731"/>
            <a:ext cx="3133725" cy="238125"/>
          </a:xfrm>
          <a:prstGeom prst="rect">
            <a:avLst/>
          </a:prstGeom>
        </p:spPr>
      </p:pic>
      <p:sp>
        <p:nvSpPr>
          <p:cNvPr id="54" name="Rectangle 3">
            <a:extLst>
              <a:ext uri="{FF2B5EF4-FFF2-40B4-BE49-F238E27FC236}">
                <a16:creationId xmlns:a16="http://schemas.microsoft.com/office/drawing/2014/main" id="{61EC0AB5-717F-4CBE-9358-F2AC55F393FD}"/>
              </a:ext>
            </a:extLst>
          </p:cNvPr>
          <p:cNvSpPr>
            <a:spLocks/>
          </p:cNvSpPr>
          <p:nvPr/>
        </p:nvSpPr>
        <p:spPr bwMode="auto">
          <a:xfrm>
            <a:off x="1733815" y="2132782"/>
            <a:ext cx="1664703" cy="274320"/>
          </a:xfrm>
          <a:prstGeom prst="rect">
            <a:avLst/>
          </a:prstGeom>
          <a:noFill/>
          <a:ln>
            <a:noFill/>
          </a:ln>
        </p:spPr>
        <p:txBody>
          <a:bodyPr lIns="0" tIns="0" rIns="0" bIns="0" anchor="b"/>
          <a:lstStyle/>
          <a:p>
            <a:pPr marL="54864" algn="ctr" defTabSz="908009">
              <a:lnSpc>
                <a:spcPct val="85000"/>
              </a:lnSpc>
              <a:spcAft>
                <a:spcPts val="600"/>
              </a:spcAft>
              <a:buClr>
                <a:srgbClr val="92D400"/>
              </a:buClr>
              <a:buSzPct val="75000"/>
              <a:defRPr/>
            </a:pPr>
            <a:r>
              <a:rPr lang="en-US" sz="1600" b="1">
                <a:solidFill>
                  <a:srgbClr val="000000"/>
                </a:solidFill>
                <a:latin typeface="Open Sans"/>
                <a:sym typeface="Frutiger Next Pro Medium" charset="0"/>
              </a:rPr>
              <a:t>Advise</a:t>
            </a:r>
            <a:endParaRPr lang="en-US" sz="1600" b="1" dirty="0">
              <a:solidFill>
                <a:srgbClr val="000000"/>
              </a:solidFill>
              <a:latin typeface="Open Sans"/>
              <a:sym typeface="Frutiger Next Pro Medium" charset="0"/>
            </a:endParaRPr>
          </a:p>
        </p:txBody>
      </p:sp>
      <p:sp>
        <p:nvSpPr>
          <p:cNvPr id="55" name="Rectangle 3">
            <a:extLst>
              <a:ext uri="{FF2B5EF4-FFF2-40B4-BE49-F238E27FC236}">
                <a16:creationId xmlns:a16="http://schemas.microsoft.com/office/drawing/2014/main" id="{457A3548-0886-449C-B0BC-250496C3DA3B}"/>
              </a:ext>
            </a:extLst>
          </p:cNvPr>
          <p:cNvSpPr>
            <a:spLocks/>
          </p:cNvSpPr>
          <p:nvPr/>
        </p:nvSpPr>
        <p:spPr bwMode="auto">
          <a:xfrm>
            <a:off x="8182557" y="2360472"/>
            <a:ext cx="2928463" cy="1384995"/>
          </a:xfrm>
          <a:prstGeom prst="rect">
            <a:avLst/>
          </a:prstGeom>
          <a:noFill/>
        </p:spPr>
        <p:txBody>
          <a:bodyPr wrap="square" rtlCol="0">
            <a:spAutoFit/>
          </a:bodyPr>
          <a:lstStyle/>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Campaign management</a:t>
            </a:r>
          </a:p>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Campaign insights and reporting</a:t>
            </a:r>
          </a:p>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Campaign testing and optimization   </a:t>
            </a:r>
          </a:p>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Platform monitoring</a:t>
            </a:r>
          </a:p>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Platform maintenance</a:t>
            </a:r>
          </a:p>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Platform enhancements</a:t>
            </a:r>
          </a:p>
          <a:p>
            <a:pPr marL="285750" indent="-285750">
              <a:buFont typeface="Arial" panose="020B0604020202020204" pitchFamily="34" charset="0"/>
              <a:buChar char="•"/>
            </a:pPr>
            <a:endParaRPr lang="en-US" sz="1200">
              <a:solidFill>
                <a:srgbClr val="000000"/>
              </a:solidFill>
              <a:latin typeface="Open Sans"/>
              <a:ea typeface="Open Sans" charset="0"/>
              <a:cs typeface="Open Sans" charset="0"/>
            </a:endParaRPr>
          </a:p>
        </p:txBody>
      </p:sp>
      <p:sp>
        <p:nvSpPr>
          <p:cNvPr id="56" name="Rectangle 3">
            <a:extLst>
              <a:ext uri="{FF2B5EF4-FFF2-40B4-BE49-F238E27FC236}">
                <a16:creationId xmlns:a16="http://schemas.microsoft.com/office/drawing/2014/main" id="{CF11E955-09BB-43FC-A051-2BE49EF4FD68}"/>
              </a:ext>
            </a:extLst>
          </p:cNvPr>
          <p:cNvSpPr>
            <a:spLocks/>
          </p:cNvSpPr>
          <p:nvPr/>
        </p:nvSpPr>
        <p:spPr bwMode="auto">
          <a:xfrm>
            <a:off x="4528008" y="2360472"/>
            <a:ext cx="3145947" cy="1754326"/>
          </a:xfrm>
          <a:prstGeom prst="rect">
            <a:avLst/>
          </a:prstGeom>
          <a:noFill/>
        </p:spPr>
        <p:txBody>
          <a:bodyPr wrap="square" rtlCol="0">
            <a:spAutoFit/>
          </a:bodyPr>
          <a:lstStyle/>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Configure and deploy IS Beacon</a:t>
            </a:r>
          </a:p>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Define Site Catalog, Unified Customer Profile and Consent Logic </a:t>
            </a:r>
          </a:p>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Establish OOTB connectors with SFMC</a:t>
            </a:r>
          </a:p>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Develop content zones and templates</a:t>
            </a:r>
          </a:p>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Build segments, recipes, and campaigns </a:t>
            </a:r>
          </a:p>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Activate use cases </a:t>
            </a:r>
          </a:p>
          <a:p>
            <a:pPr marL="182880" indent="-182880">
              <a:buFont typeface="Arial" panose="020B0604020202020204" pitchFamily="34" charset="0"/>
              <a:buChar char="•"/>
              <a:defRPr/>
            </a:pPr>
            <a:r>
              <a:rPr lang="en-US" sz="1200">
                <a:solidFill>
                  <a:srgbClr val="000000"/>
                </a:solidFill>
                <a:latin typeface="Open Sans"/>
                <a:ea typeface="Open Sans" charset="0"/>
                <a:cs typeface="Open Sans" charset="0"/>
              </a:rPr>
              <a:t>Use case testing and optimization</a:t>
            </a:r>
          </a:p>
        </p:txBody>
      </p:sp>
      <p:sp>
        <p:nvSpPr>
          <p:cNvPr id="57" name="TextBox 56">
            <a:extLst>
              <a:ext uri="{FF2B5EF4-FFF2-40B4-BE49-F238E27FC236}">
                <a16:creationId xmlns:a16="http://schemas.microsoft.com/office/drawing/2014/main" id="{5A5F0856-976B-4995-9BD8-CCD05A783259}"/>
              </a:ext>
            </a:extLst>
          </p:cNvPr>
          <p:cNvSpPr txBox="1"/>
          <p:nvPr/>
        </p:nvSpPr>
        <p:spPr>
          <a:xfrm>
            <a:off x="4662210" y="2104775"/>
            <a:ext cx="2841994" cy="302327"/>
          </a:xfrm>
          <a:prstGeom prst="rect">
            <a:avLst/>
          </a:prstGeom>
          <a:noFill/>
        </p:spPr>
        <p:txBody>
          <a:bodyPr wrap="square" rtlCol="0" anchor="b">
            <a:spAutoFit/>
          </a:bodyPr>
          <a:lstStyle/>
          <a:p>
            <a:pPr marL="54864" algn="ctr" defTabSz="908009">
              <a:lnSpc>
                <a:spcPct val="85000"/>
              </a:lnSpc>
              <a:spcAft>
                <a:spcPts val="600"/>
              </a:spcAft>
              <a:buClr>
                <a:srgbClr val="92D400"/>
              </a:buClr>
              <a:buSzPct val="75000"/>
              <a:defRPr/>
            </a:pPr>
            <a:r>
              <a:rPr lang="en-US" sz="1600" b="1">
                <a:solidFill>
                  <a:srgbClr val="000000"/>
                </a:solidFill>
                <a:latin typeface="Open Sans"/>
                <a:sym typeface="Frutiger Next Pro Medium" charset="0"/>
              </a:rPr>
              <a:t>Build</a:t>
            </a:r>
            <a:endParaRPr lang="en-US" sz="1600" b="1" dirty="0">
              <a:solidFill>
                <a:srgbClr val="000000"/>
              </a:solidFill>
              <a:latin typeface="Open Sans"/>
              <a:sym typeface="Frutiger Next Pro Medium" charset="0"/>
            </a:endParaRPr>
          </a:p>
        </p:txBody>
      </p:sp>
      <p:sp>
        <p:nvSpPr>
          <p:cNvPr id="58" name="TextBox 57">
            <a:extLst>
              <a:ext uri="{FF2B5EF4-FFF2-40B4-BE49-F238E27FC236}">
                <a16:creationId xmlns:a16="http://schemas.microsoft.com/office/drawing/2014/main" id="{6A7E554E-60E4-406D-80FF-E21878EA4FAB}"/>
              </a:ext>
            </a:extLst>
          </p:cNvPr>
          <p:cNvSpPr txBox="1"/>
          <p:nvPr/>
        </p:nvSpPr>
        <p:spPr>
          <a:xfrm>
            <a:off x="8279727" y="2104775"/>
            <a:ext cx="2725799" cy="302327"/>
          </a:xfrm>
          <a:prstGeom prst="rect">
            <a:avLst/>
          </a:prstGeom>
          <a:noFill/>
        </p:spPr>
        <p:txBody>
          <a:bodyPr wrap="square" rtlCol="0" anchor="b">
            <a:spAutoFit/>
          </a:bodyPr>
          <a:lstStyle/>
          <a:p>
            <a:pPr marL="54864" algn="ctr" defTabSz="908009">
              <a:lnSpc>
                <a:spcPct val="85000"/>
              </a:lnSpc>
              <a:spcAft>
                <a:spcPts val="600"/>
              </a:spcAft>
              <a:buClr>
                <a:srgbClr val="92D400"/>
              </a:buClr>
              <a:buSzPct val="75000"/>
              <a:defRPr/>
            </a:pPr>
            <a:r>
              <a:rPr lang="en-US" sz="1600" b="1">
                <a:solidFill>
                  <a:srgbClr val="000000"/>
                </a:solidFill>
                <a:latin typeface="Open Sans"/>
                <a:sym typeface="Frutiger Next Pro Medium" charset="0"/>
              </a:rPr>
              <a:t>Operate</a:t>
            </a:r>
          </a:p>
        </p:txBody>
      </p:sp>
      <p:sp>
        <p:nvSpPr>
          <p:cNvPr id="59" name="TextBox 58">
            <a:extLst>
              <a:ext uri="{FF2B5EF4-FFF2-40B4-BE49-F238E27FC236}">
                <a16:creationId xmlns:a16="http://schemas.microsoft.com/office/drawing/2014/main" id="{9CF432FC-1D3C-4FF7-A959-718B61599FC3}"/>
              </a:ext>
            </a:extLst>
          </p:cNvPr>
          <p:cNvSpPr txBox="1"/>
          <p:nvPr/>
        </p:nvSpPr>
        <p:spPr>
          <a:xfrm>
            <a:off x="1140591" y="2360472"/>
            <a:ext cx="3145947" cy="1754326"/>
          </a:xfrm>
          <a:prstGeom prst="rect">
            <a:avLst/>
          </a:prstGeom>
          <a:noFill/>
        </p:spPr>
        <p:txBody>
          <a:bodyPr wrap="square" rtlCol="0">
            <a:spAutoFit/>
          </a:bodyPr>
          <a:lstStyle/>
          <a:p>
            <a:pPr marL="182880" indent="-182880">
              <a:buFont typeface="Arial" panose="020B0604020202020204" pitchFamily="34" charset="0"/>
              <a:buChar char="•"/>
              <a:defRPr/>
            </a:pPr>
            <a:r>
              <a:rPr lang="en-US" sz="1200" dirty="0">
                <a:solidFill>
                  <a:srgbClr val="000000"/>
                </a:solidFill>
                <a:latin typeface="Open Sans"/>
                <a:ea typeface="Open Sans" charset="0"/>
                <a:cs typeface="Open Sans" charset="0"/>
              </a:rPr>
              <a:t>Evaluate current state architecture</a:t>
            </a:r>
          </a:p>
          <a:p>
            <a:pPr marL="182880" indent="-182880">
              <a:buFont typeface="Arial" panose="020B0604020202020204" pitchFamily="34" charset="0"/>
              <a:buChar char="•"/>
              <a:defRPr/>
            </a:pPr>
            <a:r>
              <a:rPr lang="en-US" sz="1200" dirty="0">
                <a:solidFill>
                  <a:srgbClr val="000000"/>
                </a:solidFill>
                <a:latin typeface="Open Sans"/>
                <a:ea typeface="Open Sans" charset="0"/>
                <a:cs typeface="Open Sans" charset="0"/>
              </a:rPr>
              <a:t>Review personas and customer journeys</a:t>
            </a:r>
          </a:p>
          <a:p>
            <a:pPr marL="182880" indent="-182880">
              <a:buFont typeface="Arial" panose="020B0604020202020204" pitchFamily="34" charset="0"/>
              <a:buChar char="•"/>
              <a:defRPr/>
            </a:pPr>
            <a:r>
              <a:rPr lang="en-US" sz="1200" dirty="0">
                <a:solidFill>
                  <a:srgbClr val="000000"/>
                </a:solidFill>
                <a:latin typeface="Open Sans"/>
                <a:ea typeface="Open Sans" charset="0"/>
                <a:cs typeface="Open Sans" charset="0"/>
              </a:rPr>
              <a:t>Host prioritization workshops to identify top use cases </a:t>
            </a:r>
          </a:p>
          <a:p>
            <a:pPr marL="182880" indent="-182880">
              <a:buFont typeface="Arial" panose="020B0604020202020204" pitchFamily="34" charset="0"/>
              <a:buChar char="•"/>
              <a:defRPr/>
            </a:pPr>
            <a:r>
              <a:rPr lang="en-US" sz="1200" dirty="0">
                <a:solidFill>
                  <a:srgbClr val="000000"/>
                </a:solidFill>
                <a:latin typeface="Open Sans"/>
                <a:ea typeface="Open Sans" charset="0"/>
                <a:cs typeface="Open Sans" charset="0"/>
              </a:rPr>
              <a:t>Define future state solution architecture</a:t>
            </a:r>
          </a:p>
          <a:p>
            <a:pPr marL="182880" indent="-182880">
              <a:buFont typeface="Arial" panose="020B0604020202020204" pitchFamily="34" charset="0"/>
              <a:buChar char="•"/>
              <a:defRPr/>
            </a:pPr>
            <a:r>
              <a:rPr lang="en-US" sz="1200" dirty="0">
                <a:solidFill>
                  <a:srgbClr val="000000"/>
                </a:solidFill>
                <a:latin typeface="Open Sans"/>
                <a:ea typeface="Open Sans" charset="0"/>
                <a:cs typeface="Open Sans" charset="0"/>
              </a:rPr>
              <a:t>Design roadmap for quick and long-term wins </a:t>
            </a:r>
          </a:p>
        </p:txBody>
      </p:sp>
      <p:sp>
        <p:nvSpPr>
          <p:cNvPr id="60" name="Text Placeholder 2">
            <a:extLst>
              <a:ext uri="{FF2B5EF4-FFF2-40B4-BE49-F238E27FC236}">
                <a16:creationId xmlns:a16="http://schemas.microsoft.com/office/drawing/2014/main" id="{219E86EF-7FC5-4201-B8AC-6D9104DCBF42}"/>
              </a:ext>
            </a:extLst>
          </p:cNvPr>
          <p:cNvSpPr txBox="1">
            <a:spLocks/>
          </p:cNvSpPr>
          <p:nvPr/>
        </p:nvSpPr>
        <p:spPr>
          <a:xfrm>
            <a:off x="1110939" y="5210672"/>
            <a:ext cx="3031352" cy="1033604"/>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1200" cap="none" spc="-3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Advanced Data Ingestion</a:t>
            </a:r>
            <a:endParaRPr kumimoji="0" lang="en-US" sz="140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30" normalizeH="0" baseline="0" noProof="0" dirty="0">
                <a:ln>
                  <a:noFill/>
                </a:ln>
                <a:solidFill>
                  <a:srgbClr val="000000"/>
                </a:solidFill>
                <a:effectLst/>
                <a:uLnTx/>
                <a:uFillTx/>
                <a:latin typeface="Open Sans" charset="0"/>
                <a:ea typeface="Open Sans" charset="0"/>
                <a:cs typeface="Open Sans" charset="0"/>
              </a:rPr>
              <a:t>Design of custom ETL processes to standardize data and/or onboard additional sources (e.g., mobile SDK, social pages, display ads, etc.)</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30" normalizeH="0" baseline="0" noProof="0" dirty="0">
              <a:ln>
                <a:noFill/>
              </a:ln>
              <a:solidFill>
                <a:srgbClr val="000000"/>
              </a:solidFill>
              <a:effectLst/>
              <a:uLnTx/>
              <a:uFillTx/>
              <a:latin typeface="Open Sans" charset="0"/>
              <a:ea typeface="Open Sans" charset="0"/>
              <a:cs typeface="Open Sans" charset="0"/>
            </a:endParaRPr>
          </a:p>
        </p:txBody>
      </p:sp>
      <p:sp>
        <p:nvSpPr>
          <p:cNvPr id="61" name="Text Placeholder 2">
            <a:extLst>
              <a:ext uri="{FF2B5EF4-FFF2-40B4-BE49-F238E27FC236}">
                <a16:creationId xmlns:a16="http://schemas.microsoft.com/office/drawing/2014/main" id="{C28D306B-B4B5-4D60-90CC-B54D15530DE8}"/>
              </a:ext>
            </a:extLst>
          </p:cNvPr>
          <p:cNvSpPr txBox="1">
            <a:spLocks/>
          </p:cNvSpPr>
          <p:nvPr/>
        </p:nvSpPr>
        <p:spPr>
          <a:xfrm>
            <a:off x="4662210" y="5210672"/>
            <a:ext cx="3057267" cy="1033604"/>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1200" cap="none" spc="-30" normalizeH="0" baseline="0" noProof="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Cross Platform Orchestration</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30" normalizeH="0" baseline="0" noProof="0">
                <a:ln>
                  <a:noFill/>
                </a:ln>
                <a:solidFill>
                  <a:srgbClr val="000000"/>
                </a:solidFill>
                <a:effectLst/>
                <a:uLnTx/>
                <a:uFillTx/>
                <a:latin typeface="Open Sans" charset="0"/>
                <a:ea typeface="Open Sans" charset="0"/>
                <a:cs typeface="Open Sans" charset="0"/>
              </a:rPr>
              <a:t>Services include orchestration logic required to activate across journeys or platforms (web, mobile, in-store, etc.) to optimize across frequency, recency, and channel mix metrics. </a:t>
            </a:r>
          </a:p>
        </p:txBody>
      </p:sp>
      <p:sp>
        <p:nvSpPr>
          <p:cNvPr id="62" name="Text Placeholder 2">
            <a:extLst>
              <a:ext uri="{FF2B5EF4-FFF2-40B4-BE49-F238E27FC236}">
                <a16:creationId xmlns:a16="http://schemas.microsoft.com/office/drawing/2014/main" id="{5F0CFB9A-C5CA-49B5-BF75-FF79177913CF}"/>
              </a:ext>
            </a:extLst>
          </p:cNvPr>
          <p:cNvSpPr txBox="1">
            <a:spLocks/>
          </p:cNvSpPr>
          <p:nvPr/>
        </p:nvSpPr>
        <p:spPr>
          <a:xfrm>
            <a:off x="8316119" y="5210672"/>
            <a:ext cx="3016274" cy="1033604"/>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1200" cap="none" spc="-3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Custom Integrations &amp; Adapters</a:t>
            </a:r>
            <a:endParaRPr kumimoji="0" lang="en-US" sz="140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30" normalizeH="0" baseline="0" noProof="0" dirty="0">
                <a:ln>
                  <a:noFill/>
                </a:ln>
                <a:solidFill>
                  <a:srgbClr val="000000"/>
                </a:solidFill>
                <a:effectLst/>
                <a:uLnTx/>
                <a:uFillTx/>
                <a:latin typeface="Open Sans" charset="0"/>
                <a:ea typeface="Open Sans" charset="0"/>
                <a:cs typeface="Open Sans" charset="0"/>
              </a:rPr>
              <a:t>Build custom connectors to activate Interaction Studio campaigns across additional channels (e.g., custom applications, SF CDP, etc.)</a:t>
            </a:r>
          </a:p>
        </p:txBody>
      </p:sp>
      <p:cxnSp>
        <p:nvCxnSpPr>
          <p:cNvPr id="63" name="Straight Connector 62">
            <a:extLst>
              <a:ext uri="{FF2B5EF4-FFF2-40B4-BE49-F238E27FC236}">
                <a16:creationId xmlns:a16="http://schemas.microsoft.com/office/drawing/2014/main" id="{3B2D4AD2-960C-454E-A879-82B519828FED}"/>
              </a:ext>
            </a:extLst>
          </p:cNvPr>
          <p:cNvCxnSpPr/>
          <p:nvPr/>
        </p:nvCxnSpPr>
        <p:spPr>
          <a:xfrm>
            <a:off x="485174" y="4719796"/>
            <a:ext cx="11316358" cy="0"/>
          </a:xfrm>
          <a:prstGeom prst="line">
            <a:avLst/>
          </a:prstGeom>
          <a:noFill/>
          <a:ln w="6350" cap="flat" cmpd="sng" algn="ctr">
            <a:solidFill>
              <a:srgbClr val="FFFFFF">
                <a:lumMod val="50000"/>
              </a:srgbClr>
            </a:solidFill>
            <a:prstDash val="solid"/>
            <a:miter lim="800000"/>
          </a:ln>
          <a:effectLst/>
        </p:spPr>
      </p:cxnSp>
      <p:sp>
        <p:nvSpPr>
          <p:cNvPr id="64" name="Rectangle 3">
            <a:extLst>
              <a:ext uri="{FF2B5EF4-FFF2-40B4-BE49-F238E27FC236}">
                <a16:creationId xmlns:a16="http://schemas.microsoft.com/office/drawing/2014/main" id="{8DB21414-8CD3-4713-AF5A-A7081D9A3383}"/>
              </a:ext>
            </a:extLst>
          </p:cNvPr>
          <p:cNvSpPr>
            <a:spLocks/>
          </p:cNvSpPr>
          <p:nvPr/>
        </p:nvSpPr>
        <p:spPr bwMode="auto">
          <a:xfrm>
            <a:off x="4778293" y="4593082"/>
            <a:ext cx="2635415" cy="222513"/>
          </a:xfrm>
          <a:prstGeom prst="rect">
            <a:avLst/>
          </a:prstGeom>
          <a:solidFill>
            <a:srgbClr val="FFFFFF"/>
          </a:solidFill>
          <a:ln>
            <a:solidFill>
              <a:srgbClr val="000000"/>
            </a:solidFill>
          </a:ln>
        </p:spPr>
        <p:txBody>
          <a:bodyPr lIns="0" tIns="0" rIns="0" bIns="0" anchor="ctr"/>
          <a:lstStyle/>
          <a:p>
            <a:pPr marL="182880" marR="0" lvl="0" indent="0" algn="ctr" defTabSz="908009" eaLnBrk="1" fontAlgn="auto" latinLnBrk="0" hangingPunct="1">
              <a:lnSpc>
                <a:spcPct val="100000"/>
              </a:lnSpc>
              <a:spcBef>
                <a:spcPts val="0"/>
              </a:spcBef>
              <a:spcAft>
                <a:spcPts val="0"/>
              </a:spcAft>
              <a:buClr>
                <a:srgbClr val="92D400"/>
              </a:buClr>
              <a:buSzPct val="75000"/>
              <a:buFontTx/>
              <a:buNone/>
              <a:tabLst/>
              <a:defRPr/>
            </a:pPr>
            <a:r>
              <a:rPr kumimoji="0" lang="en-US" sz="1400" b="0" i="0" u="none" strike="noStrike" kern="0" cap="none" spc="0" normalizeH="0" baseline="0" noProof="0">
                <a:ln>
                  <a:noFill/>
                </a:ln>
                <a:solidFill>
                  <a:srgbClr val="000000"/>
                </a:solidFill>
                <a:effectLst/>
                <a:uLnTx/>
                <a:uFillTx/>
                <a:latin typeface="Open Sans"/>
                <a:sym typeface="Frutiger Next Pro Medium" charset="0"/>
              </a:rPr>
              <a:t>Advanced Offerings</a:t>
            </a:r>
          </a:p>
        </p:txBody>
      </p:sp>
      <p:sp>
        <p:nvSpPr>
          <p:cNvPr id="65" name="Text Placeholder 2">
            <a:extLst>
              <a:ext uri="{FF2B5EF4-FFF2-40B4-BE49-F238E27FC236}">
                <a16:creationId xmlns:a16="http://schemas.microsoft.com/office/drawing/2014/main" id="{DBE2DAEF-DDD6-4687-9178-771692BE3F19}"/>
              </a:ext>
            </a:extLst>
          </p:cNvPr>
          <p:cNvSpPr txBox="1">
            <a:spLocks/>
          </p:cNvSpPr>
          <p:nvPr/>
        </p:nvSpPr>
        <p:spPr>
          <a:xfrm>
            <a:off x="642646" y="864394"/>
            <a:ext cx="10362880"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400" b="0" i="0" u="none" strike="noStrike" kern="1200" cap="none" spc="-30" normalizeH="0" baseline="0" noProof="0" dirty="0">
                <a:ln>
                  <a:noFill/>
                </a:ln>
                <a:solidFill>
                  <a:srgbClr val="000000"/>
                </a:solidFill>
                <a:effectLst/>
                <a:uLnTx/>
                <a:uFillTx/>
                <a:latin typeface="Open Sans"/>
                <a:ea typeface="Open Sans" charset="0"/>
                <a:cs typeface="Open Sans" charset="0"/>
              </a:rPr>
              <a:t>Deloitte offers advise, build, and operate services as well as advanced offerings such as custom ETL, cross platform orchestration, and custom adapters. </a:t>
            </a:r>
          </a:p>
        </p:txBody>
      </p:sp>
      <p:sp>
        <p:nvSpPr>
          <p:cNvPr id="66" name="Rectangle 65">
            <a:extLst>
              <a:ext uri="{FF2B5EF4-FFF2-40B4-BE49-F238E27FC236}">
                <a16:creationId xmlns:a16="http://schemas.microsoft.com/office/drawing/2014/main" id="{18FE70CA-CD11-4B28-8AD9-82B35AFAA1FB}"/>
              </a:ext>
            </a:extLst>
          </p:cNvPr>
          <p:cNvSpPr/>
          <p:nvPr/>
        </p:nvSpPr>
        <p:spPr>
          <a:xfrm>
            <a:off x="914399" y="1917418"/>
            <a:ext cx="3303535" cy="2385702"/>
          </a:xfrm>
          <a:prstGeom prst="rect">
            <a:avLst/>
          </a:prstGeom>
          <a:noFill/>
          <a:ln w="19050" cap="flat" cmpd="sng" algn="ctr">
            <a:solidFill>
              <a:srgbClr val="86F2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67" name="Rectangle 66">
            <a:extLst>
              <a:ext uri="{FF2B5EF4-FFF2-40B4-BE49-F238E27FC236}">
                <a16:creationId xmlns:a16="http://schemas.microsoft.com/office/drawing/2014/main" id="{67801B17-51A4-4AB6-8F9A-C5427A84383B}"/>
              </a:ext>
            </a:extLst>
          </p:cNvPr>
          <p:cNvSpPr/>
          <p:nvPr/>
        </p:nvSpPr>
        <p:spPr>
          <a:xfrm>
            <a:off x="4431440" y="1917417"/>
            <a:ext cx="3303535" cy="2385702"/>
          </a:xfrm>
          <a:prstGeom prst="rect">
            <a:avLst/>
          </a:prstGeom>
          <a:noFill/>
          <a:ln w="19050" cap="flat" cmpd="sng" algn="ctr">
            <a:solidFill>
              <a:srgbClr val="86F2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68" name="Rectangle 67">
            <a:extLst>
              <a:ext uri="{FF2B5EF4-FFF2-40B4-BE49-F238E27FC236}">
                <a16:creationId xmlns:a16="http://schemas.microsoft.com/office/drawing/2014/main" id="{82C9B6B3-376E-4F9E-ABEB-192128D7AE9B}"/>
              </a:ext>
            </a:extLst>
          </p:cNvPr>
          <p:cNvSpPr/>
          <p:nvPr/>
        </p:nvSpPr>
        <p:spPr>
          <a:xfrm>
            <a:off x="7990859" y="1917416"/>
            <a:ext cx="3303535" cy="2385702"/>
          </a:xfrm>
          <a:prstGeom prst="rect">
            <a:avLst/>
          </a:prstGeom>
          <a:noFill/>
          <a:ln w="19050" cap="flat" cmpd="sng" algn="ctr">
            <a:solidFill>
              <a:srgbClr val="86F2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69" name="Rectangle 68">
            <a:extLst>
              <a:ext uri="{FF2B5EF4-FFF2-40B4-BE49-F238E27FC236}">
                <a16:creationId xmlns:a16="http://schemas.microsoft.com/office/drawing/2014/main" id="{10EAB0FB-62ED-4F4D-BFBB-A20B6E20E739}"/>
              </a:ext>
            </a:extLst>
          </p:cNvPr>
          <p:cNvSpPr/>
          <p:nvPr/>
        </p:nvSpPr>
        <p:spPr>
          <a:xfrm>
            <a:off x="914399" y="5122056"/>
            <a:ext cx="3303535" cy="1173590"/>
          </a:xfrm>
          <a:prstGeom prst="rect">
            <a:avLst/>
          </a:prstGeom>
          <a:noFill/>
          <a:ln w="19050" cap="flat" cmpd="sng" algn="ctr">
            <a:solidFill>
              <a:srgbClr val="3EFAC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70" name="Rectangle 69">
            <a:extLst>
              <a:ext uri="{FF2B5EF4-FFF2-40B4-BE49-F238E27FC236}">
                <a16:creationId xmlns:a16="http://schemas.microsoft.com/office/drawing/2014/main" id="{6EF44F28-0011-433D-ADC1-085BDE7F0460}"/>
              </a:ext>
            </a:extLst>
          </p:cNvPr>
          <p:cNvSpPr/>
          <p:nvPr/>
        </p:nvSpPr>
        <p:spPr>
          <a:xfrm>
            <a:off x="4491585" y="5122056"/>
            <a:ext cx="3303535" cy="1173590"/>
          </a:xfrm>
          <a:prstGeom prst="rect">
            <a:avLst/>
          </a:prstGeom>
          <a:noFill/>
          <a:ln w="19050" cap="flat" cmpd="sng" algn="ctr">
            <a:solidFill>
              <a:srgbClr val="3EFAC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71" name="Rectangle 70">
            <a:extLst>
              <a:ext uri="{FF2B5EF4-FFF2-40B4-BE49-F238E27FC236}">
                <a16:creationId xmlns:a16="http://schemas.microsoft.com/office/drawing/2014/main" id="{8DC7CFB4-D1F0-40CC-85F2-17A5FFCABF1D}"/>
              </a:ext>
            </a:extLst>
          </p:cNvPr>
          <p:cNvSpPr/>
          <p:nvPr/>
        </p:nvSpPr>
        <p:spPr>
          <a:xfrm>
            <a:off x="8068771" y="5122056"/>
            <a:ext cx="3303535" cy="1173590"/>
          </a:xfrm>
          <a:prstGeom prst="rect">
            <a:avLst/>
          </a:prstGeom>
          <a:noFill/>
          <a:ln w="19050" cap="flat" cmpd="sng" algn="ctr">
            <a:solidFill>
              <a:srgbClr val="3EFAC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72" name="Rectangle 71">
            <a:extLst>
              <a:ext uri="{FF2B5EF4-FFF2-40B4-BE49-F238E27FC236}">
                <a16:creationId xmlns:a16="http://schemas.microsoft.com/office/drawing/2014/main" id="{41F1CF39-3A97-4616-BF73-B3646AF055D9}"/>
              </a:ext>
            </a:extLst>
          </p:cNvPr>
          <p:cNvSpPr/>
          <p:nvPr/>
        </p:nvSpPr>
        <p:spPr>
          <a:xfrm>
            <a:off x="914399" y="5122056"/>
            <a:ext cx="78770" cy="1173585"/>
          </a:xfrm>
          <a:prstGeom prst="rect">
            <a:avLst/>
          </a:prstGeom>
          <a:solidFill>
            <a:srgbClr val="3EFAC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73" name="Rectangle 72">
            <a:extLst>
              <a:ext uri="{FF2B5EF4-FFF2-40B4-BE49-F238E27FC236}">
                <a16:creationId xmlns:a16="http://schemas.microsoft.com/office/drawing/2014/main" id="{5D4807A6-51BA-4C37-9C66-D70DA09E3BC8}"/>
              </a:ext>
            </a:extLst>
          </p:cNvPr>
          <p:cNvSpPr/>
          <p:nvPr/>
        </p:nvSpPr>
        <p:spPr>
          <a:xfrm>
            <a:off x="4488623" y="5122055"/>
            <a:ext cx="78770" cy="1173585"/>
          </a:xfrm>
          <a:prstGeom prst="rect">
            <a:avLst/>
          </a:prstGeom>
          <a:solidFill>
            <a:srgbClr val="3EFAC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74" name="Rectangle 73">
            <a:extLst>
              <a:ext uri="{FF2B5EF4-FFF2-40B4-BE49-F238E27FC236}">
                <a16:creationId xmlns:a16="http://schemas.microsoft.com/office/drawing/2014/main" id="{7AB7714A-C148-422F-BC52-7C66DA687429}"/>
              </a:ext>
            </a:extLst>
          </p:cNvPr>
          <p:cNvSpPr/>
          <p:nvPr/>
        </p:nvSpPr>
        <p:spPr>
          <a:xfrm>
            <a:off x="8062847" y="5122054"/>
            <a:ext cx="78770" cy="1173585"/>
          </a:xfrm>
          <a:prstGeom prst="rect">
            <a:avLst/>
          </a:prstGeom>
          <a:solidFill>
            <a:srgbClr val="3EFAC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75" name="Rectangle 74">
            <a:extLst>
              <a:ext uri="{FF2B5EF4-FFF2-40B4-BE49-F238E27FC236}">
                <a16:creationId xmlns:a16="http://schemas.microsoft.com/office/drawing/2014/main" id="{40C43208-106B-4DE7-BF99-FE5DCE4B91C9}"/>
              </a:ext>
            </a:extLst>
          </p:cNvPr>
          <p:cNvSpPr/>
          <p:nvPr/>
        </p:nvSpPr>
        <p:spPr>
          <a:xfrm rot="5400000">
            <a:off x="2528057" y="306384"/>
            <a:ext cx="78770" cy="3300984"/>
          </a:xfrm>
          <a:prstGeom prst="rect">
            <a:avLst/>
          </a:prstGeom>
          <a:solidFill>
            <a:srgbClr val="86F2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76" name="Rectangle 75">
            <a:extLst>
              <a:ext uri="{FF2B5EF4-FFF2-40B4-BE49-F238E27FC236}">
                <a16:creationId xmlns:a16="http://schemas.microsoft.com/office/drawing/2014/main" id="{591CFBCB-3E16-440B-9545-05135C67602D}"/>
              </a:ext>
            </a:extLst>
          </p:cNvPr>
          <p:cNvSpPr/>
          <p:nvPr/>
        </p:nvSpPr>
        <p:spPr>
          <a:xfrm rot="5400000">
            <a:off x="6039874" y="306384"/>
            <a:ext cx="78770" cy="3300984"/>
          </a:xfrm>
          <a:prstGeom prst="rect">
            <a:avLst/>
          </a:prstGeom>
          <a:solidFill>
            <a:srgbClr val="86F2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77" name="Rectangle 76">
            <a:extLst>
              <a:ext uri="{FF2B5EF4-FFF2-40B4-BE49-F238E27FC236}">
                <a16:creationId xmlns:a16="http://schemas.microsoft.com/office/drawing/2014/main" id="{46923EF2-A584-49BF-8821-F8B37EE5DFDB}"/>
              </a:ext>
            </a:extLst>
          </p:cNvPr>
          <p:cNvSpPr/>
          <p:nvPr/>
        </p:nvSpPr>
        <p:spPr>
          <a:xfrm rot="5400000">
            <a:off x="9592787" y="306384"/>
            <a:ext cx="78770" cy="3300984"/>
          </a:xfrm>
          <a:prstGeom prst="rect">
            <a:avLst/>
          </a:prstGeom>
          <a:solidFill>
            <a:srgbClr val="86F2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209426455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0">
            <a:extLst>
              <a:ext uri="{FF2B5EF4-FFF2-40B4-BE49-F238E27FC236}">
                <a16:creationId xmlns:a16="http://schemas.microsoft.com/office/drawing/2014/main" id="{54F0E06A-7E06-4475-B31E-2EC43034958C}"/>
              </a:ext>
            </a:extLst>
          </p:cNvPr>
          <p:cNvSpPr txBox="1">
            <a:spLocks/>
          </p:cNvSpPr>
          <p:nvPr/>
        </p:nvSpPr>
        <p:spPr>
          <a:xfrm>
            <a:off x="-1" y="165101"/>
            <a:ext cx="12191999" cy="409330"/>
          </a:xfrm>
          <a:prstGeom prst="rect">
            <a:avLst/>
          </a:prstGeom>
          <a:solidFill>
            <a:schemeClr val="tx1"/>
          </a:solidFill>
        </p:spPr>
        <p:txBody>
          <a:bodyPr vert="horz" lIns="0" tIns="45720" rIns="0" bIns="0" rtlCol="0" anchor="b" anchorCtr="0">
            <a:noAutofit/>
          </a:bodyPr>
          <a:lstStyle>
            <a:lvl1pPr algn="l" defTabSz="914400" rtl="0" eaLnBrk="1" latinLnBrk="0" hangingPunct="1">
              <a:lnSpc>
                <a:spcPct val="90000"/>
              </a:lnSpc>
              <a:spcBef>
                <a:spcPct val="0"/>
              </a:spcBef>
              <a:buNone/>
              <a:defRPr lang="en-US" sz="3600" b="0" kern="1200" spc="-75" dirty="0">
                <a:solidFill>
                  <a:schemeClr val="tx1"/>
                </a:solidFill>
                <a:latin typeface="+mj-lt"/>
                <a:ea typeface="+mj-ea"/>
                <a:cs typeface="+mj-cs"/>
              </a:defRPr>
            </a:lvl1pPr>
          </a:lstStyle>
          <a:p>
            <a:pPr algn="ctr"/>
            <a:r>
              <a:rPr lang="en-US" sz="2800" b="1" dirty="0">
                <a:solidFill>
                  <a:schemeClr val="bg1"/>
                </a:solidFill>
              </a:rPr>
              <a:t>Illustrative Implementation Timeline</a:t>
            </a:r>
          </a:p>
        </p:txBody>
      </p:sp>
      <p:pic>
        <p:nvPicPr>
          <p:cNvPr id="28" name="Picture 27">
            <a:extLst>
              <a:ext uri="{FF2B5EF4-FFF2-40B4-BE49-F238E27FC236}">
                <a16:creationId xmlns:a16="http://schemas.microsoft.com/office/drawing/2014/main" id="{A407B2AF-0953-4E9A-9E22-D7A08F8B0195}"/>
              </a:ext>
            </a:extLst>
          </p:cNvPr>
          <p:cNvPicPr>
            <a:picLocks noChangeAspect="1"/>
          </p:cNvPicPr>
          <p:nvPr/>
        </p:nvPicPr>
        <p:blipFill>
          <a:blip r:embed="rId23"/>
          <a:stretch>
            <a:fillRect/>
          </a:stretch>
        </p:blipFill>
        <p:spPr>
          <a:xfrm>
            <a:off x="337678" y="6426731"/>
            <a:ext cx="3133725" cy="238125"/>
          </a:xfrm>
          <a:prstGeom prst="rect">
            <a:avLst/>
          </a:prstGeom>
        </p:spPr>
      </p:pic>
      <p:graphicFrame>
        <p:nvGraphicFramePr>
          <p:cNvPr id="47" name="Table 46">
            <a:extLst>
              <a:ext uri="{FF2B5EF4-FFF2-40B4-BE49-F238E27FC236}">
                <a16:creationId xmlns:a16="http://schemas.microsoft.com/office/drawing/2014/main" id="{E46176DB-77D6-44ED-9037-D9CBC374FF78}"/>
              </a:ext>
            </a:extLst>
          </p:cNvPr>
          <p:cNvGraphicFramePr>
            <a:graphicFrameLocks noGrp="1"/>
          </p:cNvGraphicFramePr>
          <p:nvPr/>
        </p:nvGraphicFramePr>
        <p:xfrm>
          <a:off x="1451458" y="2059846"/>
          <a:ext cx="10444980" cy="3946508"/>
        </p:xfrm>
        <a:graphic>
          <a:graphicData uri="http://schemas.openxmlformats.org/drawingml/2006/table">
            <a:tbl>
              <a:tblPr firstRow="1" bandRow="1"/>
              <a:tblGrid>
                <a:gridCol w="522249">
                  <a:extLst>
                    <a:ext uri="{9D8B030D-6E8A-4147-A177-3AD203B41FA5}">
                      <a16:colId xmlns:a16="http://schemas.microsoft.com/office/drawing/2014/main" val="168088196"/>
                    </a:ext>
                  </a:extLst>
                </a:gridCol>
                <a:gridCol w="522249">
                  <a:extLst>
                    <a:ext uri="{9D8B030D-6E8A-4147-A177-3AD203B41FA5}">
                      <a16:colId xmlns:a16="http://schemas.microsoft.com/office/drawing/2014/main" val="328290691"/>
                    </a:ext>
                  </a:extLst>
                </a:gridCol>
                <a:gridCol w="522249">
                  <a:extLst>
                    <a:ext uri="{9D8B030D-6E8A-4147-A177-3AD203B41FA5}">
                      <a16:colId xmlns:a16="http://schemas.microsoft.com/office/drawing/2014/main" val="4014510463"/>
                    </a:ext>
                  </a:extLst>
                </a:gridCol>
                <a:gridCol w="522249">
                  <a:extLst>
                    <a:ext uri="{9D8B030D-6E8A-4147-A177-3AD203B41FA5}">
                      <a16:colId xmlns:a16="http://schemas.microsoft.com/office/drawing/2014/main" val="352284058"/>
                    </a:ext>
                  </a:extLst>
                </a:gridCol>
                <a:gridCol w="522249">
                  <a:extLst>
                    <a:ext uri="{9D8B030D-6E8A-4147-A177-3AD203B41FA5}">
                      <a16:colId xmlns:a16="http://schemas.microsoft.com/office/drawing/2014/main" val="3777639436"/>
                    </a:ext>
                  </a:extLst>
                </a:gridCol>
                <a:gridCol w="522249">
                  <a:extLst>
                    <a:ext uri="{9D8B030D-6E8A-4147-A177-3AD203B41FA5}">
                      <a16:colId xmlns:a16="http://schemas.microsoft.com/office/drawing/2014/main" val="839703920"/>
                    </a:ext>
                  </a:extLst>
                </a:gridCol>
                <a:gridCol w="522249">
                  <a:extLst>
                    <a:ext uri="{9D8B030D-6E8A-4147-A177-3AD203B41FA5}">
                      <a16:colId xmlns:a16="http://schemas.microsoft.com/office/drawing/2014/main" val="3388916039"/>
                    </a:ext>
                  </a:extLst>
                </a:gridCol>
                <a:gridCol w="522249">
                  <a:extLst>
                    <a:ext uri="{9D8B030D-6E8A-4147-A177-3AD203B41FA5}">
                      <a16:colId xmlns:a16="http://schemas.microsoft.com/office/drawing/2014/main" val="604528499"/>
                    </a:ext>
                  </a:extLst>
                </a:gridCol>
                <a:gridCol w="522249">
                  <a:extLst>
                    <a:ext uri="{9D8B030D-6E8A-4147-A177-3AD203B41FA5}">
                      <a16:colId xmlns:a16="http://schemas.microsoft.com/office/drawing/2014/main" val="2187417999"/>
                    </a:ext>
                  </a:extLst>
                </a:gridCol>
                <a:gridCol w="522249">
                  <a:extLst>
                    <a:ext uri="{9D8B030D-6E8A-4147-A177-3AD203B41FA5}">
                      <a16:colId xmlns:a16="http://schemas.microsoft.com/office/drawing/2014/main" val="4159572915"/>
                    </a:ext>
                  </a:extLst>
                </a:gridCol>
                <a:gridCol w="522249">
                  <a:extLst>
                    <a:ext uri="{9D8B030D-6E8A-4147-A177-3AD203B41FA5}">
                      <a16:colId xmlns:a16="http://schemas.microsoft.com/office/drawing/2014/main" val="3868299751"/>
                    </a:ext>
                  </a:extLst>
                </a:gridCol>
                <a:gridCol w="522249">
                  <a:extLst>
                    <a:ext uri="{9D8B030D-6E8A-4147-A177-3AD203B41FA5}">
                      <a16:colId xmlns:a16="http://schemas.microsoft.com/office/drawing/2014/main" val="43983220"/>
                    </a:ext>
                  </a:extLst>
                </a:gridCol>
                <a:gridCol w="522249">
                  <a:extLst>
                    <a:ext uri="{9D8B030D-6E8A-4147-A177-3AD203B41FA5}">
                      <a16:colId xmlns:a16="http://schemas.microsoft.com/office/drawing/2014/main" val="1555935143"/>
                    </a:ext>
                  </a:extLst>
                </a:gridCol>
                <a:gridCol w="522249">
                  <a:extLst>
                    <a:ext uri="{9D8B030D-6E8A-4147-A177-3AD203B41FA5}">
                      <a16:colId xmlns:a16="http://schemas.microsoft.com/office/drawing/2014/main" val="498356264"/>
                    </a:ext>
                  </a:extLst>
                </a:gridCol>
                <a:gridCol w="522249">
                  <a:extLst>
                    <a:ext uri="{9D8B030D-6E8A-4147-A177-3AD203B41FA5}">
                      <a16:colId xmlns:a16="http://schemas.microsoft.com/office/drawing/2014/main" val="1713725938"/>
                    </a:ext>
                  </a:extLst>
                </a:gridCol>
                <a:gridCol w="522249">
                  <a:extLst>
                    <a:ext uri="{9D8B030D-6E8A-4147-A177-3AD203B41FA5}">
                      <a16:colId xmlns:a16="http://schemas.microsoft.com/office/drawing/2014/main" val="3488197355"/>
                    </a:ext>
                  </a:extLst>
                </a:gridCol>
                <a:gridCol w="522249">
                  <a:extLst>
                    <a:ext uri="{9D8B030D-6E8A-4147-A177-3AD203B41FA5}">
                      <a16:colId xmlns:a16="http://schemas.microsoft.com/office/drawing/2014/main" val="1552738243"/>
                    </a:ext>
                  </a:extLst>
                </a:gridCol>
                <a:gridCol w="522249">
                  <a:extLst>
                    <a:ext uri="{9D8B030D-6E8A-4147-A177-3AD203B41FA5}">
                      <a16:colId xmlns:a16="http://schemas.microsoft.com/office/drawing/2014/main" val="225773274"/>
                    </a:ext>
                  </a:extLst>
                </a:gridCol>
                <a:gridCol w="522249">
                  <a:extLst>
                    <a:ext uri="{9D8B030D-6E8A-4147-A177-3AD203B41FA5}">
                      <a16:colId xmlns:a16="http://schemas.microsoft.com/office/drawing/2014/main" val="61330974"/>
                    </a:ext>
                  </a:extLst>
                </a:gridCol>
                <a:gridCol w="522249">
                  <a:extLst>
                    <a:ext uri="{9D8B030D-6E8A-4147-A177-3AD203B41FA5}">
                      <a16:colId xmlns:a16="http://schemas.microsoft.com/office/drawing/2014/main" val="3644378050"/>
                    </a:ext>
                  </a:extLst>
                </a:gridCol>
              </a:tblGrid>
              <a:tr h="986627">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no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Open Sans"/>
                        </a:defRPr>
                      </a:lvl1pPr>
                      <a:lvl2pPr marL="457200" algn="l" defTabSz="914400" rtl="0" eaLnBrk="1" latinLnBrk="0" hangingPunct="1">
                        <a:defRPr sz="1800" kern="1200">
                          <a:solidFill>
                            <a:schemeClr val="dk1"/>
                          </a:solidFill>
                          <a:latin typeface="Open Sans"/>
                        </a:defRPr>
                      </a:lvl2pPr>
                      <a:lvl3pPr marL="914400" algn="l" defTabSz="914400" rtl="0" eaLnBrk="1" latinLnBrk="0" hangingPunct="1">
                        <a:defRPr sz="1800" kern="1200">
                          <a:solidFill>
                            <a:schemeClr val="dk1"/>
                          </a:solidFill>
                          <a:latin typeface="Open Sans"/>
                        </a:defRPr>
                      </a:lvl3pPr>
                      <a:lvl4pPr marL="1371600" algn="l" defTabSz="914400" rtl="0" eaLnBrk="1" latinLnBrk="0" hangingPunct="1">
                        <a:defRPr sz="1800" kern="1200">
                          <a:solidFill>
                            <a:schemeClr val="dk1"/>
                          </a:solidFill>
                          <a:latin typeface="Open Sans"/>
                        </a:defRPr>
                      </a:lvl4pPr>
                      <a:lvl5pPr marL="1828800" algn="l" defTabSz="914400" rtl="0" eaLnBrk="1" latinLnBrk="0" hangingPunct="1">
                        <a:defRPr sz="1800" kern="1200">
                          <a:solidFill>
                            <a:schemeClr val="dk1"/>
                          </a:solidFill>
                          <a:latin typeface="Open Sans"/>
                        </a:defRPr>
                      </a:lvl5pPr>
                      <a:lvl6pPr marL="2286000" algn="l" defTabSz="914400" rtl="0" eaLnBrk="1" latinLnBrk="0" hangingPunct="1">
                        <a:defRPr sz="1800" kern="1200">
                          <a:solidFill>
                            <a:schemeClr val="dk1"/>
                          </a:solidFill>
                          <a:latin typeface="Open Sans"/>
                        </a:defRPr>
                      </a:lvl6pPr>
                      <a:lvl7pPr marL="2743200" algn="l" defTabSz="914400" rtl="0" eaLnBrk="1" latinLnBrk="0" hangingPunct="1">
                        <a:defRPr sz="1800" kern="1200">
                          <a:solidFill>
                            <a:schemeClr val="dk1"/>
                          </a:solidFill>
                          <a:latin typeface="Open Sans"/>
                        </a:defRPr>
                      </a:lvl7pPr>
                      <a:lvl8pPr marL="3200400" algn="l" defTabSz="914400" rtl="0" eaLnBrk="1" latinLnBrk="0" hangingPunct="1">
                        <a:defRPr sz="1800" kern="1200">
                          <a:solidFill>
                            <a:schemeClr val="dk1"/>
                          </a:solidFill>
                          <a:latin typeface="Open Sans"/>
                        </a:defRPr>
                      </a:lvl8pPr>
                      <a:lvl9pPr marL="3657600" algn="l" defTabSz="914400" rtl="0" eaLnBrk="1" latinLnBrk="0" hangingPunct="1">
                        <a:defRPr sz="1800" kern="1200">
                          <a:solidFill>
                            <a:schemeClr val="dk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4863606"/>
                  </a:ext>
                </a:extLst>
              </a:tr>
              <a:tr h="986627">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no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7282284"/>
                  </a:ext>
                </a:extLst>
              </a:tr>
              <a:tr h="986627">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no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115375"/>
                  </a:ext>
                </a:extLst>
              </a:tr>
              <a:tr h="986627">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no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algn="ctr"/>
                      <a:endParaRPr lang="en-US" sz="1200" b="1" dirty="0">
                        <a:solidFill>
                          <a:schemeClr val="tx1"/>
                        </a:solidFill>
                        <a:latin typeface="+mn-lt"/>
                      </a:endParaRPr>
                    </a:p>
                  </a:txBody>
                  <a:tcPr marL="105272" marR="105272" marT="52636" marB="52636"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lumMod val="95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0640304"/>
                  </a:ext>
                </a:extLst>
              </a:tr>
            </a:tbl>
          </a:graphicData>
        </a:graphic>
      </p:graphicFrame>
      <p:sp>
        <p:nvSpPr>
          <p:cNvPr id="48" name="Rectangle 47">
            <a:extLst>
              <a:ext uri="{FF2B5EF4-FFF2-40B4-BE49-F238E27FC236}">
                <a16:creationId xmlns:a16="http://schemas.microsoft.com/office/drawing/2014/main" id="{91095432-83FC-4DB7-973A-A3105B2EFD16}"/>
              </a:ext>
            </a:extLst>
          </p:cNvPr>
          <p:cNvSpPr/>
          <p:nvPr>
            <p:custDataLst>
              <p:tags r:id="rId1"/>
            </p:custDataLst>
          </p:nvPr>
        </p:nvSpPr>
        <p:spPr>
          <a:xfrm>
            <a:off x="1497886" y="2459115"/>
            <a:ext cx="3060540" cy="154680"/>
          </a:xfrm>
          <a:prstGeom prst="rect">
            <a:avLst/>
          </a:prstGeom>
          <a:solidFill>
            <a:srgbClr val="86F200"/>
          </a:solidFill>
          <a:ln w="12700" cap="flat" cmpd="sng" algn="ctr">
            <a:noFill/>
            <a:prstDash val="solid"/>
            <a:miter lim="800000"/>
          </a:ln>
          <a:effectLst/>
        </p:spPr>
        <p:txBody>
          <a:bodyPr rtlCol="0" anchor="ctr"/>
          <a:lstStyle/>
          <a:p>
            <a:pPr>
              <a:lnSpc>
                <a:spcPct val="90000"/>
              </a:lnSpc>
              <a:defRPr/>
            </a:pPr>
            <a:r>
              <a:rPr lang="en-CA" sz="900" b="1" kern="0">
                <a:solidFill>
                  <a:srgbClr val="000000"/>
                </a:solidFill>
                <a:latin typeface="Open Sans"/>
              </a:rPr>
              <a:t>Discovery</a:t>
            </a:r>
          </a:p>
        </p:txBody>
      </p:sp>
      <p:sp>
        <p:nvSpPr>
          <p:cNvPr id="49" name="Pentagon 17">
            <a:extLst>
              <a:ext uri="{FF2B5EF4-FFF2-40B4-BE49-F238E27FC236}">
                <a16:creationId xmlns:a16="http://schemas.microsoft.com/office/drawing/2014/main" id="{B0C569BC-8669-4088-88A9-8F56868F18A2}"/>
              </a:ext>
            </a:extLst>
          </p:cNvPr>
          <p:cNvSpPr/>
          <p:nvPr>
            <p:custDataLst>
              <p:tags r:id="rId2"/>
            </p:custDataLst>
          </p:nvPr>
        </p:nvSpPr>
        <p:spPr>
          <a:xfrm>
            <a:off x="1493758" y="2612466"/>
            <a:ext cx="3105951" cy="374573"/>
          </a:xfrm>
          <a:prstGeom prst="homePlate">
            <a:avLst>
              <a:gd name="adj" fmla="val 11801"/>
            </a:avLst>
          </a:prstGeom>
          <a:solidFill>
            <a:srgbClr val="86F200">
              <a:lumMod val="20000"/>
              <a:lumOff val="80000"/>
            </a:srgbClr>
          </a:solidFill>
          <a:ln w="12700" cap="flat" cmpd="sng" algn="ctr">
            <a:noFill/>
            <a:prstDash val="solid"/>
            <a:miter lim="800000"/>
          </a:ln>
          <a:effectLst/>
        </p:spPr>
        <p:txBody>
          <a:bodyPr rtlCol="0" anchor="ctr"/>
          <a:lstStyle/>
          <a:p>
            <a:pPr marL="58738" indent="-58738">
              <a:lnSpc>
                <a:spcPct val="90000"/>
              </a:lnSpc>
              <a:buFont typeface="Arial" panose="020B0604020202020204" pitchFamily="34" charset="0"/>
              <a:buChar char="•"/>
              <a:defRPr/>
            </a:pPr>
            <a:r>
              <a:rPr lang="en-CA" sz="700" kern="0">
                <a:solidFill>
                  <a:srgbClr val="000000"/>
                </a:solidFill>
                <a:latin typeface="Open Sans"/>
              </a:rPr>
              <a:t>Use Case Discovery Workshop</a:t>
            </a:r>
          </a:p>
          <a:p>
            <a:pPr marL="58738" indent="-58738">
              <a:lnSpc>
                <a:spcPct val="90000"/>
              </a:lnSpc>
              <a:buFont typeface="Arial" panose="020B0604020202020204" pitchFamily="34" charset="0"/>
              <a:buChar char="•"/>
              <a:defRPr/>
            </a:pPr>
            <a:r>
              <a:rPr lang="en-CA" sz="700" kern="0">
                <a:solidFill>
                  <a:srgbClr val="000000"/>
                </a:solidFill>
                <a:latin typeface="Open Sans"/>
              </a:rPr>
              <a:t>Sitemap Blueprint </a:t>
            </a:r>
          </a:p>
          <a:p>
            <a:pPr marL="58738" indent="-58738">
              <a:lnSpc>
                <a:spcPct val="90000"/>
              </a:lnSpc>
              <a:buFont typeface="Arial" panose="020B0604020202020204" pitchFamily="34" charset="0"/>
              <a:buChar char="•"/>
              <a:defRPr/>
            </a:pPr>
            <a:r>
              <a:rPr lang="en-CA" sz="700" kern="0">
                <a:solidFill>
                  <a:srgbClr val="000000"/>
                </a:solidFill>
                <a:latin typeface="Open Sans"/>
              </a:rPr>
              <a:t>Confirm Recognition Strategy</a:t>
            </a:r>
          </a:p>
        </p:txBody>
      </p:sp>
      <p:sp>
        <p:nvSpPr>
          <p:cNvPr id="50" name="Pentagon 12">
            <a:extLst>
              <a:ext uri="{FF2B5EF4-FFF2-40B4-BE49-F238E27FC236}">
                <a16:creationId xmlns:a16="http://schemas.microsoft.com/office/drawing/2014/main" id="{27E7D161-1E53-4829-82DF-E491FFAF7992}"/>
              </a:ext>
            </a:extLst>
          </p:cNvPr>
          <p:cNvSpPr/>
          <p:nvPr>
            <p:custDataLst>
              <p:tags r:id="rId3"/>
            </p:custDataLst>
          </p:nvPr>
        </p:nvSpPr>
        <p:spPr>
          <a:xfrm>
            <a:off x="1638624" y="2072927"/>
            <a:ext cx="684368" cy="403945"/>
          </a:xfrm>
          <a:prstGeom prst="rect">
            <a:avLst/>
          </a:prstGeom>
          <a:noFill/>
          <a:ln w="12700" cap="flat" cmpd="sng" algn="ctr">
            <a:noFill/>
            <a:prstDash val="solid"/>
            <a:miter lim="800000"/>
          </a:ln>
          <a:effectLst/>
        </p:spPr>
        <p:txBody>
          <a:bodyPr rtlCol="0" anchor="ctr"/>
          <a:lstStyle/>
          <a:p>
            <a:pPr>
              <a:lnSpc>
                <a:spcPct val="90000"/>
              </a:lnSpc>
              <a:defRPr/>
            </a:pPr>
            <a:r>
              <a:rPr lang="en-CA" sz="900" b="1" kern="0">
                <a:solidFill>
                  <a:srgbClr val="000000"/>
                </a:solidFill>
                <a:latin typeface="Open Sans"/>
              </a:rPr>
              <a:t>Product Intro</a:t>
            </a:r>
          </a:p>
        </p:txBody>
      </p:sp>
      <p:graphicFrame>
        <p:nvGraphicFramePr>
          <p:cNvPr id="51" name="Table 29">
            <a:extLst>
              <a:ext uri="{FF2B5EF4-FFF2-40B4-BE49-F238E27FC236}">
                <a16:creationId xmlns:a16="http://schemas.microsoft.com/office/drawing/2014/main" id="{65CDDCCF-59D9-4D56-80B2-108C2A5A747C}"/>
              </a:ext>
            </a:extLst>
          </p:cNvPr>
          <p:cNvGraphicFramePr>
            <a:graphicFrameLocks noGrp="1"/>
          </p:cNvGraphicFramePr>
          <p:nvPr/>
        </p:nvGraphicFramePr>
        <p:xfrm>
          <a:off x="1481584" y="1722843"/>
          <a:ext cx="10414855" cy="370840"/>
        </p:xfrm>
        <a:graphic>
          <a:graphicData uri="http://schemas.openxmlformats.org/drawingml/2006/table">
            <a:tbl>
              <a:tblPr firstRow="1" bandRow="1"/>
              <a:tblGrid>
                <a:gridCol w="2082971">
                  <a:extLst>
                    <a:ext uri="{9D8B030D-6E8A-4147-A177-3AD203B41FA5}">
                      <a16:colId xmlns:a16="http://schemas.microsoft.com/office/drawing/2014/main" val="1400297050"/>
                    </a:ext>
                  </a:extLst>
                </a:gridCol>
                <a:gridCol w="2082971">
                  <a:extLst>
                    <a:ext uri="{9D8B030D-6E8A-4147-A177-3AD203B41FA5}">
                      <a16:colId xmlns:a16="http://schemas.microsoft.com/office/drawing/2014/main" val="3190659213"/>
                    </a:ext>
                  </a:extLst>
                </a:gridCol>
                <a:gridCol w="2082971">
                  <a:extLst>
                    <a:ext uri="{9D8B030D-6E8A-4147-A177-3AD203B41FA5}">
                      <a16:colId xmlns:a16="http://schemas.microsoft.com/office/drawing/2014/main" val="4158335351"/>
                    </a:ext>
                  </a:extLst>
                </a:gridCol>
                <a:gridCol w="2082971">
                  <a:extLst>
                    <a:ext uri="{9D8B030D-6E8A-4147-A177-3AD203B41FA5}">
                      <a16:colId xmlns:a16="http://schemas.microsoft.com/office/drawing/2014/main" val="1771262506"/>
                    </a:ext>
                  </a:extLst>
                </a:gridCol>
                <a:gridCol w="2082971">
                  <a:extLst>
                    <a:ext uri="{9D8B030D-6E8A-4147-A177-3AD203B41FA5}">
                      <a16:colId xmlns:a16="http://schemas.microsoft.com/office/drawing/2014/main" val="3105980562"/>
                    </a:ext>
                  </a:extLst>
                </a:gridCol>
              </a:tblGrid>
              <a:tr h="370840">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algn="ctr"/>
                      <a:r>
                        <a:rPr lang="en-US" sz="1200"/>
                        <a:t>Month 1</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787878"/>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Open Sans"/>
                          <a:ea typeface="+mn-ea"/>
                          <a:cs typeface="+mn-cs"/>
                        </a:rPr>
                        <a:t>Month 2</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787878"/>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Open Sans"/>
                          <a:ea typeface="+mn-ea"/>
                          <a:cs typeface="+mn-cs"/>
                        </a:rPr>
                        <a:t>Month 3</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787878"/>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Open Sans"/>
                          <a:ea typeface="+mn-ea"/>
                          <a:cs typeface="+mn-cs"/>
                        </a:rPr>
                        <a:t>Month 4</a:t>
                      </a:r>
                      <a:endParaRPr kumimoji="0" lang="en-US" sz="1200" b="1" i="0" u="none" strike="noStrike" kern="1200" cap="none" spc="0" normalizeH="0" baseline="0" noProof="0" dirty="0">
                        <a:ln>
                          <a:noFill/>
                        </a:ln>
                        <a:solidFill>
                          <a:srgbClr val="FFFFFF"/>
                        </a:solidFill>
                        <a:effectLst/>
                        <a:uLnTx/>
                        <a:uFillTx/>
                        <a:latin typeface="Open Sans"/>
                        <a:ea typeface="+mn-ea"/>
                        <a:cs typeface="+mn-cs"/>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787878"/>
                    </a:solidFill>
                  </a:tcPr>
                </a:tc>
                <a:tc>
                  <a:txBody>
                    <a:bodyPr/>
                    <a:lstStyle>
                      <a:lvl1pPr marL="0" algn="l" defTabSz="914400" rtl="0" eaLnBrk="1" latinLnBrk="0" hangingPunct="1">
                        <a:defRPr sz="1800" b="1" kern="1200">
                          <a:solidFill>
                            <a:schemeClr val="lt1"/>
                          </a:solidFill>
                          <a:latin typeface="Open Sans"/>
                        </a:defRPr>
                      </a:lvl1pPr>
                      <a:lvl2pPr marL="457200" algn="l" defTabSz="914400" rtl="0" eaLnBrk="1" latinLnBrk="0" hangingPunct="1">
                        <a:defRPr sz="1800" b="1" kern="1200">
                          <a:solidFill>
                            <a:schemeClr val="lt1"/>
                          </a:solidFill>
                          <a:latin typeface="Open Sans"/>
                        </a:defRPr>
                      </a:lvl2pPr>
                      <a:lvl3pPr marL="914400" algn="l" defTabSz="914400" rtl="0" eaLnBrk="1" latinLnBrk="0" hangingPunct="1">
                        <a:defRPr sz="1800" b="1" kern="1200">
                          <a:solidFill>
                            <a:schemeClr val="lt1"/>
                          </a:solidFill>
                          <a:latin typeface="Open Sans"/>
                        </a:defRPr>
                      </a:lvl3pPr>
                      <a:lvl4pPr marL="1371600" algn="l" defTabSz="914400" rtl="0" eaLnBrk="1" latinLnBrk="0" hangingPunct="1">
                        <a:defRPr sz="1800" b="1" kern="1200">
                          <a:solidFill>
                            <a:schemeClr val="lt1"/>
                          </a:solidFill>
                          <a:latin typeface="Open Sans"/>
                        </a:defRPr>
                      </a:lvl4pPr>
                      <a:lvl5pPr marL="1828800" algn="l" defTabSz="914400" rtl="0" eaLnBrk="1" latinLnBrk="0" hangingPunct="1">
                        <a:defRPr sz="1800" b="1" kern="1200">
                          <a:solidFill>
                            <a:schemeClr val="lt1"/>
                          </a:solidFill>
                          <a:latin typeface="Open Sans"/>
                        </a:defRPr>
                      </a:lvl5pPr>
                      <a:lvl6pPr marL="2286000" algn="l" defTabSz="914400" rtl="0" eaLnBrk="1" latinLnBrk="0" hangingPunct="1">
                        <a:defRPr sz="1800" b="1" kern="1200">
                          <a:solidFill>
                            <a:schemeClr val="lt1"/>
                          </a:solidFill>
                          <a:latin typeface="Open Sans"/>
                        </a:defRPr>
                      </a:lvl6pPr>
                      <a:lvl7pPr marL="2743200" algn="l" defTabSz="914400" rtl="0" eaLnBrk="1" latinLnBrk="0" hangingPunct="1">
                        <a:defRPr sz="1800" b="1" kern="1200">
                          <a:solidFill>
                            <a:schemeClr val="lt1"/>
                          </a:solidFill>
                          <a:latin typeface="Open Sans"/>
                        </a:defRPr>
                      </a:lvl7pPr>
                      <a:lvl8pPr marL="3200400" algn="l" defTabSz="914400" rtl="0" eaLnBrk="1" latinLnBrk="0" hangingPunct="1">
                        <a:defRPr sz="1800" b="1" kern="1200">
                          <a:solidFill>
                            <a:schemeClr val="lt1"/>
                          </a:solidFill>
                          <a:latin typeface="Open Sans"/>
                        </a:defRPr>
                      </a:lvl8pPr>
                      <a:lvl9pPr marL="3657600" algn="l" defTabSz="914400" rtl="0" eaLnBrk="1" latinLnBrk="0" hangingPunct="1">
                        <a:defRPr sz="1800" b="1" kern="1200">
                          <a:solidFill>
                            <a:schemeClr val="lt1"/>
                          </a:solidFill>
                          <a:latin typeface="Open San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Month “n”</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925837691"/>
                  </a:ext>
                </a:extLst>
              </a:tr>
            </a:tbl>
          </a:graphicData>
        </a:graphic>
      </p:graphicFrame>
      <p:grpSp>
        <p:nvGrpSpPr>
          <p:cNvPr id="52" name="Group 51">
            <a:extLst>
              <a:ext uri="{FF2B5EF4-FFF2-40B4-BE49-F238E27FC236}">
                <a16:creationId xmlns:a16="http://schemas.microsoft.com/office/drawing/2014/main" id="{5CA9C5E4-931B-4EC7-BB2C-AD76F7F2DED7}"/>
              </a:ext>
            </a:extLst>
          </p:cNvPr>
          <p:cNvGrpSpPr/>
          <p:nvPr/>
        </p:nvGrpSpPr>
        <p:grpSpPr>
          <a:xfrm>
            <a:off x="914971" y="2041865"/>
            <a:ext cx="589010" cy="967666"/>
            <a:chOff x="914971" y="2505893"/>
            <a:chExt cx="589010" cy="1727487"/>
          </a:xfrm>
        </p:grpSpPr>
        <p:sp>
          <p:nvSpPr>
            <p:cNvPr id="53" name="Rectangle 52">
              <a:extLst>
                <a:ext uri="{FF2B5EF4-FFF2-40B4-BE49-F238E27FC236}">
                  <a16:creationId xmlns:a16="http://schemas.microsoft.com/office/drawing/2014/main" id="{06768F56-0013-4954-980F-4EF3DC3DB919}"/>
                </a:ext>
              </a:extLst>
            </p:cNvPr>
            <p:cNvSpPr/>
            <p:nvPr>
              <p:custDataLst>
                <p:tags r:id="rId19"/>
              </p:custDataLst>
            </p:nvPr>
          </p:nvSpPr>
          <p:spPr>
            <a:xfrm>
              <a:off x="914971" y="2505893"/>
              <a:ext cx="511539" cy="1727487"/>
            </a:xfrm>
            <a:prstGeom prst="rect">
              <a:avLst/>
            </a:prstGeom>
            <a:solidFill>
              <a:srgbClr val="FFFFFF">
                <a:lumMod val="50000"/>
              </a:srgbClr>
            </a:solidFill>
            <a:ln w="12700" cap="flat" cmpd="sng" algn="ctr">
              <a:noFill/>
              <a:prstDash val="solid"/>
              <a:miter lim="800000"/>
            </a:ln>
            <a:effectLst/>
          </p:spPr>
          <p:txBody>
            <a:bodyPr vert="vert270" rtlCol="0" anchor="ctr"/>
            <a:lstStyle/>
            <a:p>
              <a:pPr algn="ctr">
                <a:lnSpc>
                  <a:spcPct val="80000"/>
                </a:lnSpc>
                <a:defRPr/>
              </a:pPr>
              <a:r>
                <a:rPr lang="en-CA" sz="1050" b="1" kern="0">
                  <a:solidFill>
                    <a:srgbClr val="FFFFFF"/>
                  </a:solidFill>
                  <a:latin typeface="Open Sans"/>
                </a:rPr>
                <a:t>PHASE </a:t>
              </a:r>
            </a:p>
            <a:p>
              <a:pPr algn="ctr">
                <a:lnSpc>
                  <a:spcPct val="80000"/>
                </a:lnSpc>
                <a:defRPr/>
              </a:pPr>
              <a:r>
                <a:rPr lang="en-CA" sz="1050" b="1" kern="0">
                  <a:solidFill>
                    <a:srgbClr val="FFFFFF"/>
                  </a:solidFill>
                  <a:latin typeface="Open Sans"/>
                </a:rPr>
                <a:t>0</a:t>
              </a:r>
            </a:p>
          </p:txBody>
        </p:sp>
        <p:sp>
          <p:nvSpPr>
            <p:cNvPr id="54" name="Rectangle 53">
              <a:extLst>
                <a:ext uri="{FF2B5EF4-FFF2-40B4-BE49-F238E27FC236}">
                  <a16:creationId xmlns:a16="http://schemas.microsoft.com/office/drawing/2014/main" id="{8EDA1818-09D2-4936-8FC5-C29A51A94406}"/>
                </a:ext>
              </a:extLst>
            </p:cNvPr>
            <p:cNvSpPr/>
            <p:nvPr>
              <p:custDataLst>
                <p:tags r:id="rId20"/>
              </p:custDataLst>
            </p:nvPr>
          </p:nvSpPr>
          <p:spPr>
            <a:xfrm>
              <a:off x="1426375" y="2505893"/>
              <a:ext cx="77606" cy="1727487"/>
            </a:xfrm>
            <a:prstGeom prst="rect">
              <a:avLst/>
            </a:prstGeom>
            <a:solidFill>
              <a:srgbClr val="86F200"/>
            </a:solidFill>
            <a:ln w="12700" cap="flat" cmpd="sng" algn="ctr">
              <a:noFill/>
              <a:prstDash val="solid"/>
              <a:miter lim="800000"/>
            </a:ln>
            <a:effectLst/>
          </p:spPr>
          <p:txBody>
            <a:bodyPr vert="vert270" rtlCol="0" anchor="ctr"/>
            <a:lstStyle/>
            <a:p>
              <a:pPr algn="ctr">
                <a:defRPr/>
              </a:pPr>
              <a:endParaRPr lang="en-CA" sz="700" b="1" kern="0">
                <a:solidFill>
                  <a:srgbClr val="000000">
                    <a:lumMod val="50000"/>
                    <a:lumOff val="50000"/>
                  </a:srgbClr>
                </a:solidFill>
                <a:latin typeface="Open Sans"/>
              </a:endParaRPr>
            </a:p>
          </p:txBody>
        </p:sp>
      </p:grpSp>
      <p:sp>
        <p:nvSpPr>
          <p:cNvPr id="55" name="Oval 54">
            <a:extLst>
              <a:ext uri="{FF2B5EF4-FFF2-40B4-BE49-F238E27FC236}">
                <a16:creationId xmlns:a16="http://schemas.microsoft.com/office/drawing/2014/main" id="{C051893E-01E8-4E1E-A2A3-612634F7392A}"/>
              </a:ext>
            </a:extLst>
          </p:cNvPr>
          <p:cNvSpPr/>
          <p:nvPr/>
        </p:nvSpPr>
        <p:spPr>
          <a:xfrm>
            <a:off x="1516067" y="2202688"/>
            <a:ext cx="158406" cy="148211"/>
          </a:xfrm>
          <a:prstGeom prst="ellipse">
            <a:avLst/>
          </a:prstGeom>
          <a:solidFill>
            <a:srgbClr val="FFFFFF"/>
          </a:solidFill>
          <a:ln w="9525" cap="flat" cmpd="sng" algn="ctr">
            <a:solidFill>
              <a:srgbClr val="86F2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Open Sans"/>
                <a:ea typeface="+mn-ea"/>
                <a:cs typeface="+mn-cs"/>
              </a:rPr>
              <a:t>1</a:t>
            </a:r>
          </a:p>
        </p:txBody>
      </p:sp>
      <p:grpSp>
        <p:nvGrpSpPr>
          <p:cNvPr id="56" name="Group 55">
            <a:extLst>
              <a:ext uri="{FF2B5EF4-FFF2-40B4-BE49-F238E27FC236}">
                <a16:creationId xmlns:a16="http://schemas.microsoft.com/office/drawing/2014/main" id="{94241591-F7A2-47D5-9523-E8B0765A4CC7}"/>
              </a:ext>
            </a:extLst>
          </p:cNvPr>
          <p:cNvGrpSpPr/>
          <p:nvPr/>
        </p:nvGrpSpPr>
        <p:grpSpPr>
          <a:xfrm>
            <a:off x="914400" y="3037644"/>
            <a:ext cx="589010" cy="967666"/>
            <a:chOff x="914971" y="2505893"/>
            <a:chExt cx="589010" cy="1727487"/>
          </a:xfrm>
        </p:grpSpPr>
        <p:sp>
          <p:nvSpPr>
            <p:cNvPr id="57" name="Rectangle 56">
              <a:extLst>
                <a:ext uri="{FF2B5EF4-FFF2-40B4-BE49-F238E27FC236}">
                  <a16:creationId xmlns:a16="http://schemas.microsoft.com/office/drawing/2014/main" id="{5CC554E9-28B3-439A-A990-612428B16216}"/>
                </a:ext>
              </a:extLst>
            </p:cNvPr>
            <p:cNvSpPr/>
            <p:nvPr>
              <p:custDataLst>
                <p:tags r:id="rId17"/>
              </p:custDataLst>
            </p:nvPr>
          </p:nvSpPr>
          <p:spPr>
            <a:xfrm>
              <a:off x="914971" y="2505893"/>
              <a:ext cx="511539" cy="1727487"/>
            </a:xfrm>
            <a:prstGeom prst="rect">
              <a:avLst/>
            </a:prstGeom>
            <a:solidFill>
              <a:srgbClr val="FFFFFF">
                <a:lumMod val="50000"/>
              </a:srgbClr>
            </a:solidFill>
            <a:ln w="12700" cap="flat" cmpd="sng" algn="ctr">
              <a:noFill/>
              <a:prstDash val="solid"/>
              <a:miter lim="800000"/>
            </a:ln>
            <a:effectLst/>
          </p:spPr>
          <p:txBody>
            <a:bodyPr vert="vert270" rtlCol="0" anchor="ct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CA" sz="1050" b="1" i="0" u="none" strike="noStrike" kern="0" cap="none" spc="0" normalizeH="0" baseline="0" noProof="0">
                  <a:ln>
                    <a:noFill/>
                  </a:ln>
                  <a:solidFill>
                    <a:srgbClr val="FFFFFF"/>
                  </a:solidFill>
                  <a:effectLst/>
                  <a:uLnTx/>
                  <a:uFillTx/>
                  <a:latin typeface="Open Sans"/>
                </a:rPr>
                <a:t>PHASE </a:t>
              </a:r>
            </a:p>
            <a:p>
              <a:pPr marL="0" marR="0" lvl="0" indent="0" algn="ctr" defTabSz="914400" eaLnBrk="1" fontAlgn="auto" latinLnBrk="0" hangingPunct="1">
                <a:lnSpc>
                  <a:spcPct val="80000"/>
                </a:lnSpc>
                <a:spcBef>
                  <a:spcPts val="0"/>
                </a:spcBef>
                <a:spcAft>
                  <a:spcPts val="0"/>
                </a:spcAft>
                <a:buClrTx/>
                <a:buSzTx/>
                <a:buFontTx/>
                <a:buNone/>
                <a:tabLst/>
                <a:defRPr/>
              </a:pPr>
              <a:r>
                <a:rPr kumimoji="0" lang="en-CA" sz="1050" b="1" i="0" u="none" strike="noStrike" kern="0" cap="none" spc="0" normalizeH="0" baseline="0" noProof="0">
                  <a:ln>
                    <a:noFill/>
                  </a:ln>
                  <a:solidFill>
                    <a:srgbClr val="FFFFFF"/>
                  </a:solidFill>
                  <a:effectLst/>
                  <a:uLnTx/>
                  <a:uFillTx/>
                  <a:latin typeface="Open Sans"/>
                </a:rPr>
                <a:t>1</a:t>
              </a:r>
            </a:p>
          </p:txBody>
        </p:sp>
        <p:sp>
          <p:nvSpPr>
            <p:cNvPr id="58" name="Rectangle 57">
              <a:extLst>
                <a:ext uri="{FF2B5EF4-FFF2-40B4-BE49-F238E27FC236}">
                  <a16:creationId xmlns:a16="http://schemas.microsoft.com/office/drawing/2014/main" id="{E21FC9AF-529C-4191-8D8E-E2AB36E985F8}"/>
                </a:ext>
              </a:extLst>
            </p:cNvPr>
            <p:cNvSpPr/>
            <p:nvPr>
              <p:custDataLst>
                <p:tags r:id="rId18"/>
              </p:custDataLst>
            </p:nvPr>
          </p:nvSpPr>
          <p:spPr>
            <a:xfrm>
              <a:off x="1426375" y="2505893"/>
              <a:ext cx="77606" cy="1727487"/>
            </a:xfrm>
            <a:prstGeom prst="rect">
              <a:avLst/>
            </a:prstGeom>
            <a:solidFill>
              <a:srgbClr val="34F0FF"/>
            </a:solidFill>
            <a:ln w="12700" cap="flat" cmpd="sng" algn="ctr">
              <a:solidFill>
                <a:srgbClr val="FFFFFF"/>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700" b="1" i="0" u="none" strike="noStrike" kern="0" cap="none" spc="0" normalizeH="0" baseline="0" noProof="0">
                <a:ln>
                  <a:noFill/>
                </a:ln>
                <a:solidFill>
                  <a:srgbClr val="000000">
                    <a:lumMod val="50000"/>
                    <a:lumOff val="50000"/>
                  </a:srgbClr>
                </a:solidFill>
                <a:effectLst/>
                <a:uLnTx/>
                <a:uFillTx/>
                <a:latin typeface="Open Sans"/>
              </a:endParaRPr>
            </a:p>
          </p:txBody>
        </p:sp>
      </p:grpSp>
      <p:grpSp>
        <p:nvGrpSpPr>
          <p:cNvPr id="59" name="Group 58">
            <a:extLst>
              <a:ext uri="{FF2B5EF4-FFF2-40B4-BE49-F238E27FC236}">
                <a16:creationId xmlns:a16="http://schemas.microsoft.com/office/drawing/2014/main" id="{987C7164-F748-426F-B871-E56CF6FE650F}"/>
              </a:ext>
            </a:extLst>
          </p:cNvPr>
          <p:cNvGrpSpPr/>
          <p:nvPr/>
        </p:nvGrpSpPr>
        <p:grpSpPr>
          <a:xfrm>
            <a:off x="914400" y="4033423"/>
            <a:ext cx="589010" cy="967666"/>
            <a:chOff x="914971" y="2505893"/>
            <a:chExt cx="589010" cy="1727487"/>
          </a:xfrm>
        </p:grpSpPr>
        <p:sp>
          <p:nvSpPr>
            <p:cNvPr id="60" name="Rectangle 59">
              <a:extLst>
                <a:ext uri="{FF2B5EF4-FFF2-40B4-BE49-F238E27FC236}">
                  <a16:creationId xmlns:a16="http://schemas.microsoft.com/office/drawing/2014/main" id="{3E7E2A43-1E21-4C08-82A3-5478A9F44CBA}"/>
                </a:ext>
              </a:extLst>
            </p:cNvPr>
            <p:cNvSpPr/>
            <p:nvPr>
              <p:custDataLst>
                <p:tags r:id="rId15"/>
              </p:custDataLst>
            </p:nvPr>
          </p:nvSpPr>
          <p:spPr>
            <a:xfrm>
              <a:off x="914971" y="2505893"/>
              <a:ext cx="511539" cy="1727487"/>
            </a:xfrm>
            <a:prstGeom prst="rect">
              <a:avLst/>
            </a:prstGeom>
            <a:solidFill>
              <a:srgbClr val="FFFFFF">
                <a:lumMod val="50000"/>
              </a:srgbClr>
            </a:solidFill>
            <a:ln w="12700" cap="flat" cmpd="sng" algn="ctr">
              <a:noFill/>
              <a:prstDash val="solid"/>
              <a:miter lim="800000"/>
            </a:ln>
            <a:effectLst/>
          </p:spPr>
          <p:txBody>
            <a:bodyPr vert="vert270" rtlCol="0" anchor="ct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CA" sz="1050" b="1" i="0" u="none" strike="noStrike" kern="0" cap="none" spc="0" normalizeH="0" baseline="0" noProof="0">
                  <a:ln>
                    <a:noFill/>
                  </a:ln>
                  <a:solidFill>
                    <a:srgbClr val="FFFFFF"/>
                  </a:solidFill>
                  <a:effectLst/>
                  <a:uLnTx/>
                  <a:uFillTx/>
                  <a:latin typeface="Open Sans"/>
                </a:rPr>
                <a:t>PHASE </a:t>
              </a:r>
            </a:p>
            <a:p>
              <a:pPr marL="0" marR="0" lvl="0" indent="0" algn="ctr" defTabSz="914400" eaLnBrk="1" fontAlgn="auto" latinLnBrk="0" hangingPunct="1">
                <a:lnSpc>
                  <a:spcPct val="80000"/>
                </a:lnSpc>
                <a:spcBef>
                  <a:spcPts val="0"/>
                </a:spcBef>
                <a:spcAft>
                  <a:spcPts val="0"/>
                </a:spcAft>
                <a:buClrTx/>
                <a:buSzTx/>
                <a:buFontTx/>
                <a:buNone/>
                <a:tabLst/>
                <a:defRPr/>
              </a:pPr>
              <a:r>
                <a:rPr kumimoji="0" lang="en-CA" sz="1050" b="1" i="0" u="none" strike="noStrike" kern="0" cap="none" spc="0" normalizeH="0" baseline="0" noProof="0">
                  <a:ln>
                    <a:noFill/>
                  </a:ln>
                  <a:solidFill>
                    <a:srgbClr val="FFFFFF"/>
                  </a:solidFill>
                  <a:effectLst/>
                  <a:uLnTx/>
                  <a:uFillTx/>
                  <a:latin typeface="Open Sans"/>
                </a:rPr>
                <a:t>2</a:t>
              </a:r>
            </a:p>
          </p:txBody>
        </p:sp>
        <p:sp>
          <p:nvSpPr>
            <p:cNvPr id="61" name="Rectangle 60">
              <a:extLst>
                <a:ext uri="{FF2B5EF4-FFF2-40B4-BE49-F238E27FC236}">
                  <a16:creationId xmlns:a16="http://schemas.microsoft.com/office/drawing/2014/main" id="{4F5BE2FC-83EB-4FF9-A86C-7568ADABEBE8}"/>
                </a:ext>
              </a:extLst>
            </p:cNvPr>
            <p:cNvSpPr/>
            <p:nvPr>
              <p:custDataLst>
                <p:tags r:id="rId16"/>
              </p:custDataLst>
            </p:nvPr>
          </p:nvSpPr>
          <p:spPr>
            <a:xfrm>
              <a:off x="1426375" y="2505893"/>
              <a:ext cx="77606" cy="1727487"/>
            </a:xfrm>
            <a:prstGeom prst="rect">
              <a:avLst/>
            </a:prstGeom>
            <a:solidFill>
              <a:srgbClr val="FDD300"/>
            </a:solidFill>
            <a:ln w="12700" cap="flat" cmpd="sng" algn="ctr">
              <a:no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700" b="1" i="0" u="none" strike="noStrike" kern="0" cap="none" spc="0" normalizeH="0" baseline="0" noProof="0">
                <a:ln>
                  <a:noFill/>
                </a:ln>
                <a:solidFill>
                  <a:srgbClr val="000000">
                    <a:lumMod val="50000"/>
                    <a:lumOff val="50000"/>
                  </a:srgbClr>
                </a:solidFill>
                <a:effectLst/>
                <a:uLnTx/>
                <a:uFillTx/>
                <a:latin typeface="Open Sans"/>
              </a:endParaRPr>
            </a:p>
          </p:txBody>
        </p:sp>
      </p:grpSp>
      <p:sp>
        <p:nvSpPr>
          <p:cNvPr id="62" name="Rectangle 61">
            <a:extLst>
              <a:ext uri="{FF2B5EF4-FFF2-40B4-BE49-F238E27FC236}">
                <a16:creationId xmlns:a16="http://schemas.microsoft.com/office/drawing/2014/main" id="{8337BA18-ACF6-4A8A-B50F-F997D74F8A55}"/>
              </a:ext>
            </a:extLst>
          </p:cNvPr>
          <p:cNvSpPr/>
          <p:nvPr>
            <p:custDataLst>
              <p:tags r:id="rId4"/>
            </p:custDataLst>
          </p:nvPr>
        </p:nvSpPr>
        <p:spPr>
          <a:xfrm>
            <a:off x="2514955" y="3347494"/>
            <a:ext cx="3061050" cy="157706"/>
          </a:xfrm>
          <a:prstGeom prst="rect">
            <a:avLst/>
          </a:prstGeom>
          <a:solidFill>
            <a:srgbClr val="34F0FF"/>
          </a:solidFill>
          <a:ln w="12700" cap="flat" cmpd="sng" algn="ctr">
            <a:noFill/>
            <a:prstDash val="solid"/>
            <a:miter lim="800000"/>
          </a:ln>
          <a:effectLst/>
        </p:spPr>
        <p:txBody>
          <a:bodyPr rtlCol="0" anchor="ctr"/>
          <a:lstStyle/>
          <a:p>
            <a:pPr marL="0" marR="0" lvl="0" indent="0" defTabSz="914400" eaLnBrk="1" fontAlgn="auto" latinLnBrk="0" hangingPunct="1">
              <a:lnSpc>
                <a:spcPct val="90000"/>
              </a:lnSpc>
              <a:spcBef>
                <a:spcPts val="0"/>
              </a:spcBef>
              <a:spcAft>
                <a:spcPts val="0"/>
              </a:spcAft>
              <a:buClrTx/>
              <a:buSzTx/>
              <a:buFontTx/>
              <a:buNone/>
              <a:tabLst/>
              <a:defRPr/>
            </a:pPr>
            <a:r>
              <a:rPr kumimoji="0" lang="en-CA" sz="900" b="1" i="0" u="none" strike="noStrike" kern="0" cap="none" spc="0" normalizeH="0" baseline="0" noProof="0">
                <a:ln>
                  <a:noFill/>
                </a:ln>
                <a:solidFill>
                  <a:srgbClr val="000000"/>
                </a:solidFill>
                <a:effectLst/>
                <a:uLnTx/>
                <a:uFillTx/>
                <a:latin typeface="Open Sans"/>
              </a:rPr>
              <a:t>Platform Setup</a:t>
            </a:r>
          </a:p>
        </p:txBody>
      </p:sp>
      <p:sp>
        <p:nvSpPr>
          <p:cNvPr id="63" name="Pentagon 17">
            <a:extLst>
              <a:ext uri="{FF2B5EF4-FFF2-40B4-BE49-F238E27FC236}">
                <a16:creationId xmlns:a16="http://schemas.microsoft.com/office/drawing/2014/main" id="{9F5B5657-0C5E-49FD-ADF5-C6D4F02DE5B4}"/>
              </a:ext>
            </a:extLst>
          </p:cNvPr>
          <p:cNvSpPr/>
          <p:nvPr>
            <p:custDataLst>
              <p:tags r:id="rId5"/>
            </p:custDataLst>
          </p:nvPr>
        </p:nvSpPr>
        <p:spPr>
          <a:xfrm>
            <a:off x="2509759" y="3473951"/>
            <a:ext cx="3105951" cy="343798"/>
          </a:xfrm>
          <a:prstGeom prst="homePlate">
            <a:avLst>
              <a:gd name="adj" fmla="val 11801"/>
            </a:avLst>
          </a:prstGeom>
          <a:solidFill>
            <a:srgbClr val="34F0FF">
              <a:lumMod val="20000"/>
              <a:lumOff val="80000"/>
            </a:srgbClr>
          </a:solidFill>
          <a:ln w="12700" cap="flat" cmpd="sng" algn="ctr">
            <a:noFill/>
            <a:prstDash val="solid"/>
            <a:miter lim="800000"/>
          </a:ln>
          <a:effectLst/>
        </p:spPr>
        <p:txBody>
          <a:bodyPr rtlCol="0" anchor="ctr"/>
          <a:lstStyle/>
          <a:p>
            <a:pPr marL="58738" marR="0" lvl="0" indent="-58738" defTabSz="91440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CA" sz="700" b="0" i="0" u="none" strike="noStrike" kern="0" cap="none" spc="0" normalizeH="0" baseline="0" noProof="0">
                <a:ln>
                  <a:noFill/>
                </a:ln>
                <a:solidFill>
                  <a:srgbClr val="000000"/>
                </a:solidFill>
                <a:effectLst/>
                <a:uLnTx/>
                <a:uFillTx/>
                <a:latin typeface="Open Sans"/>
              </a:rPr>
              <a:t>IS Pixel Implementation </a:t>
            </a:r>
          </a:p>
          <a:p>
            <a:pPr marL="58738" marR="0" lvl="0" indent="-58738" defTabSz="91440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CA" sz="700" b="0" i="0" u="none" strike="noStrike" kern="0" cap="none" spc="0" normalizeH="0" baseline="0" noProof="0">
                <a:ln>
                  <a:noFill/>
                </a:ln>
                <a:solidFill>
                  <a:srgbClr val="000000"/>
                </a:solidFill>
                <a:effectLst/>
                <a:uLnTx/>
                <a:uFillTx/>
                <a:latin typeface="Open Sans"/>
              </a:rPr>
              <a:t>External Integrations</a:t>
            </a:r>
          </a:p>
          <a:p>
            <a:pPr marL="58738" marR="0" lvl="0" indent="-58738" defTabSz="91440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CA" sz="700" b="0" i="0" u="none" strike="noStrike" kern="0" cap="none" spc="0" normalizeH="0" baseline="0" noProof="0">
                <a:ln>
                  <a:noFill/>
                </a:ln>
                <a:solidFill>
                  <a:srgbClr val="000000"/>
                </a:solidFill>
                <a:effectLst/>
                <a:uLnTx/>
                <a:uFillTx/>
                <a:latin typeface="Open Sans"/>
              </a:rPr>
              <a:t>Catalog/Sitemap Configuration </a:t>
            </a:r>
          </a:p>
        </p:txBody>
      </p:sp>
      <p:sp>
        <p:nvSpPr>
          <p:cNvPr id="64" name="Rectangle 63">
            <a:extLst>
              <a:ext uri="{FF2B5EF4-FFF2-40B4-BE49-F238E27FC236}">
                <a16:creationId xmlns:a16="http://schemas.microsoft.com/office/drawing/2014/main" id="{295D9859-F74A-4809-A03C-CA240CE596E7}"/>
              </a:ext>
            </a:extLst>
          </p:cNvPr>
          <p:cNvSpPr/>
          <p:nvPr>
            <p:custDataLst>
              <p:tags r:id="rId6"/>
            </p:custDataLst>
          </p:nvPr>
        </p:nvSpPr>
        <p:spPr>
          <a:xfrm>
            <a:off x="5650128" y="4086690"/>
            <a:ext cx="2049621" cy="141971"/>
          </a:xfrm>
          <a:prstGeom prst="rect">
            <a:avLst/>
          </a:prstGeom>
          <a:solidFill>
            <a:srgbClr val="FDD300"/>
          </a:solidFill>
          <a:ln w="12700" cap="flat" cmpd="sng" algn="ctr">
            <a:noFill/>
            <a:prstDash val="solid"/>
            <a:miter lim="800000"/>
          </a:ln>
          <a:effectLst/>
        </p:spPr>
        <p:txBody>
          <a:bodyPr rtlCol="0" anchor="ctr"/>
          <a:lstStyle/>
          <a:p>
            <a:pPr marL="0" marR="0" lvl="0" indent="0" defTabSz="914400" eaLnBrk="1" fontAlgn="auto" latinLnBrk="0" hangingPunct="1">
              <a:lnSpc>
                <a:spcPct val="90000"/>
              </a:lnSpc>
              <a:spcBef>
                <a:spcPts val="0"/>
              </a:spcBef>
              <a:spcAft>
                <a:spcPts val="0"/>
              </a:spcAft>
              <a:buClrTx/>
              <a:buSzTx/>
              <a:buFontTx/>
              <a:buNone/>
              <a:tabLst/>
              <a:defRPr/>
            </a:pPr>
            <a:r>
              <a:rPr kumimoji="0" lang="en-CA" sz="900" b="1" i="0" u="none" strike="noStrike" kern="0" cap="none" spc="0" normalizeH="0" baseline="0" noProof="0">
                <a:ln>
                  <a:noFill/>
                </a:ln>
                <a:solidFill>
                  <a:srgbClr val="000000"/>
                </a:solidFill>
                <a:effectLst/>
                <a:uLnTx/>
                <a:uFillTx/>
                <a:latin typeface="Open Sans"/>
              </a:rPr>
              <a:t>Use Case Build</a:t>
            </a:r>
          </a:p>
        </p:txBody>
      </p:sp>
      <p:sp>
        <p:nvSpPr>
          <p:cNvPr id="65" name="Pentagon 17">
            <a:extLst>
              <a:ext uri="{FF2B5EF4-FFF2-40B4-BE49-F238E27FC236}">
                <a16:creationId xmlns:a16="http://schemas.microsoft.com/office/drawing/2014/main" id="{8C5F81A4-50DD-408F-8051-3BE85B1FEE93}"/>
              </a:ext>
            </a:extLst>
          </p:cNvPr>
          <p:cNvSpPr/>
          <p:nvPr>
            <p:custDataLst>
              <p:tags r:id="rId7"/>
            </p:custDataLst>
          </p:nvPr>
        </p:nvSpPr>
        <p:spPr>
          <a:xfrm>
            <a:off x="5645999" y="4222286"/>
            <a:ext cx="2084838" cy="343798"/>
          </a:xfrm>
          <a:prstGeom prst="homePlate">
            <a:avLst>
              <a:gd name="adj" fmla="val 11801"/>
            </a:avLst>
          </a:prstGeom>
          <a:solidFill>
            <a:srgbClr val="FDD300">
              <a:lumMod val="20000"/>
              <a:lumOff val="80000"/>
            </a:srgbClr>
          </a:solidFill>
          <a:ln w="12700" cap="flat" cmpd="sng" algn="ctr">
            <a:noFill/>
            <a:prstDash val="solid"/>
            <a:miter lim="800000"/>
          </a:ln>
          <a:effectLst/>
        </p:spPr>
        <p:txBody>
          <a:bodyPr rtlCol="0" anchor="ctr"/>
          <a:lstStyle/>
          <a:p>
            <a:pPr marL="58738" marR="0" lvl="0" indent="-58738" defTabSz="91440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CA" sz="700" b="0" i="0" u="none" strike="noStrike" kern="0" cap="none" spc="0" normalizeH="0" baseline="0" noProof="0">
                <a:ln>
                  <a:noFill/>
                </a:ln>
                <a:solidFill>
                  <a:srgbClr val="000000"/>
                </a:solidFill>
                <a:effectLst/>
                <a:uLnTx/>
                <a:uFillTx/>
                <a:latin typeface="Open Sans"/>
              </a:rPr>
              <a:t>Template &amp; Campaign Build </a:t>
            </a:r>
          </a:p>
          <a:p>
            <a:pPr marL="58738" marR="0" lvl="0" indent="-58738" defTabSz="91440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CA" sz="700" b="0" i="0" u="none" strike="noStrike" kern="0" cap="none" spc="0" normalizeH="0" baseline="0" noProof="0">
                <a:ln>
                  <a:noFill/>
                </a:ln>
                <a:solidFill>
                  <a:srgbClr val="000000"/>
                </a:solidFill>
                <a:effectLst/>
                <a:uLnTx/>
                <a:uFillTx/>
                <a:latin typeface="Open Sans"/>
              </a:rPr>
              <a:t>Segment &amp; Recipe Build </a:t>
            </a:r>
          </a:p>
          <a:p>
            <a:pPr marL="58738" marR="0" lvl="0" indent="-58738" defTabSz="91440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CA" sz="700" b="0" i="0" u="none" strike="noStrike" kern="0" cap="none" spc="0" normalizeH="0" baseline="0" noProof="0">
                <a:ln>
                  <a:noFill/>
                </a:ln>
                <a:solidFill>
                  <a:srgbClr val="000000"/>
                </a:solidFill>
                <a:effectLst/>
                <a:uLnTx/>
                <a:uFillTx/>
                <a:latin typeface="Open Sans"/>
              </a:rPr>
              <a:t>Email &amp; Journey Build (</a:t>
            </a:r>
            <a:r>
              <a:rPr kumimoji="0" lang="en-CA" sz="700" b="0" i="1" u="none" strike="noStrike" kern="0" cap="none" spc="0" normalizeH="0" baseline="0" noProof="0">
                <a:ln>
                  <a:noFill/>
                </a:ln>
                <a:solidFill>
                  <a:srgbClr val="000000"/>
                </a:solidFill>
                <a:effectLst/>
                <a:uLnTx/>
                <a:uFillTx/>
                <a:latin typeface="Open Sans"/>
              </a:rPr>
              <a:t>if applicable)</a:t>
            </a:r>
            <a:r>
              <a:rPr kumimoji="0" lang="en-CA" sz="700" b="0" i="0" u="none" strike="noStrike" kern="0" cap="none" spc="0" normalizeH="0" baseline="0" noProof="0">
                <a:ln>
                  <a:noFill/>
                </a:ln>
                <a:solidFill>
                  <a:srgbClr val="000000"/>
                </a:solidFill>
                <a:effectLst/>
                <a:uLnTx/>
                <a:uFillTx/>
                <a:latin typeface="Open Sans"/>
              </a:rPr>
              <a:t> </a:t>
            </a:r>
          </a:p>
        </p:txBody>
      </p:sp>
      <p:sp>
        <p:nvSpPr>
          <p:cNvPr id="66" name="Pentagon 19">
            <a:extLst>
              <a:ext uri="{FF2B5EF4-FFF2-40B4-BE49-F238E27FC236}">
                <a16:creationId xmlns:a16="http://schemas.microsoft.com/office/drawing/2014/main" id="{732DC338-4240-4AD8-BB66-105DAAFBDFAC}"/>
              </a:ext>
            </a:extLst>
          </p:cNvPr>
          <p:cNvSpPr/>
          <p:nvPr>
            <p:custDataLst>
              <p:tags r:id="rId8"/>
            </p:custDataLst>
          </p:nvPr>
        </p:nvSpPr>
        <p:spPr>
          <a:xfrm>
            <a:off x="7726809" y="4699022"/>
            <a:ext cx="1056973" cy="248069"/>
          </a:xfrm>
          <a:prstGeom prst="homePlate">
            <a:avLst>
              <a:gd name="adj" fmla="val 13509"/>
            </a:avLst>
          </a:prstGeom>
          <a:solidFill>
            <a:srgbClr val="FDD300"/>
          </a:solidFill>
          <a:ln w="12700" cap="flat" cmpd="sng" algn="ctr">
            <a:solidFill>
              <a:srgbClr val="FDD300"/>
            </a:solidFill>
            <a:prstDash val="solid"/>
            <a:miter lim="800000"/>
          </a:ln>
          <a:effectLst/>
        </p:spPr>
        <p:txBody>
          <a:bodyPr rtlCol="0" anchor="ctr"/>
          <a:lstStyle/>
          <a:p>
            <a:pPr marL="0" marR="0" lvl="0" indent="0" defTabSz="914400" eaLnBrk="1" fontAlgn="auto" latinLnBrk="0" hangingPunct="1">
              <a:lnSpc>
                <a:spcPct val="90000"/>
              </a:lnSpc>
              <a:spcBef>
                <a:spcPts val="0"/>
              </a:spcBef>
              <a:spcAft>
                <a:spcPts val="0"/>
              </a:spcAft>
              <a:buClrTx/>
              <a:buSzTx/>
              <a:buFontTx/>
              <a:buNone/>
              <a:tabLst/>
              <a:defRPr/>
            </a:pPr>
            <a:r>
              <a:rPr kumimoji="0" lang="en-CA" sz="1000" b="1" i="0" u="none" strike="noStrike" kern="0" cap="none" spc="0" normalizeH="0" baseline="0" noProof="0">
                <a:ln>
                  <a:noFill/>
                </a:ln>
                <a:solidFill>
                  <a:srgbClr val="000000"/>
                </a:solidFill>
                <a:effectLst/>
                <a:uLnTx/>
                <a:uFillTx/>
                <a:latin typeface="Open Sans"/>
              </a:rPr>
              <a:t>UAT/SIT</a:t>
            </a:r>
          </a:p>
        </p:txBody>
      </p:sp>
      <p:sp>
        <p:nvSpPr>
          <p:cNvPr id="67" name="Rectangle 66">
            <a:extLst>
              <a:ext uri="{FF2B5EF4-FFF2-40B4-BE49-F238E27FC236}">
                <a16:creationId xmlns:a16="http://schemas.microsoft.com/office/drawing/2014/main" id="{F39051B7-2E68-48F2-874A-B7348787D5BE}"/>
              </a:ext>
            </a:extLst>
          </p:cNvPr>
          <p:cNvSpPr/>
          <p:nvPr/>
        </p:nvSpPr>
        <p:spPr>
          <a:xfrm>
            <a:off x="7847097" y="4237505"/>
            <a:ext cx="1480884" cy="341632"/>
          </a:xfrm>
          <a:prstGeom prst="rect">
            <a:avLst/>
          </a:prstGeom>
        </p:spPr>
        <p:txBody>
          <a:bodyPr wrap="square">
            <a:spAutoFit/>
          </a:bodyPr>
          <a:lstStyle/>
          <a:p>
            <a:pPr>
              <a:lnSpc>
                <a:spcPct val="90000"/>
              </a:lnSpc>
              <a:defRPr/>
            </a:pPr>
            <a:r>
              <a:rPr lang="en-CA" sz="900" b="1">
                <a:solidFill>
                  <a:srgbClr val="000000"/>
                </a:solidFill>
                <a:latin typeface="Open Sans" panose="020B0606030504020204" pitchFamily="34" charset="0"/>
                <a:ea typeface="Open Sans" panose="020B0606030504020204" pitchFamily="34" charset="0"/>
                <a:cs typeface="Open Sans" panose="020B0606030504020204" pitchFamily="34" charset="0"/>
              </a:rPr>
              <a:t>Use Case</a:t>
            </a:r>
          </a:p>
          <a:p>
            <a:pPr>
              <a:lnSpc>
                <a:spcPct val="90000"/>
              </a:lnSpc>
              <a:defRPr/>
            </a:pPr>
            <a:r>
              <a:rPr lang="en-CA" sz="900" b="1">
                <a:solidFill>
                  <a:srgbClr val="000000"/>
                </a:solidFill>
                <a:latin typeface="Open Sans" panose="020B0606030504020204" pitchFamily="34" charset="0"/>
                <a:ea typeface="Open Sans" panose="020B0606030504020204" pitchFamily="34" charset="0"/>
                <a:cs typeface="Open Sans" panose="020B0606030504020204" pitchFamily="34" charset="0"/>
              </a:rPr>
              <a:t>Demo</a:t>
            </a:r>
            <a:endParaRPr lang="en-CA" sz="9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8" name="Oval 67">
            <a:extLst>
              <a:ext uri="{FF2B5EF4-FFF2-40B4-BE49-F238E27FC236}">
                <a16:creationId xmlns:a16="http://schemas.microsoft.com/office/drawing/2014/main" id="{3FF6BDDB-998F-408C-864D-EE93F8D97CA5}"/>
              </a:ext>
            </a:extLst>
          </p:cNvPr>
          <p:cNvSpPr/>
          <p:nvPr/>
        </p:nvSpPr>
        <p:spPr>
          <a:xfrm>
            <a:off x="7734273" y="4299297"/>
            <a:ext cx="158406" cy="152757"/>
          </a:xfrm>
          <a:prstGeom prst="ellipse">
            <a:avLst/>
          </a:prstGeom>
          <a:solidFill>
            <a:srgbClr val="FFFFFF"/>
          </a:solidFill>
          <a:ln w="9525" cap="flat" cmpd="sng" algn="ctr">
            <a:solidFill>
              <a:srgbClr val="FDD3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Open Sans"/>
                <a:ea typeface="+mn-ea"/>
                <a:cs typeface="+mn-cs"/>
              </a:rPr>
              <a:t>4</a:t>
            </a:r>
          </a:p>
        </p:txBody>
      </p:sp>
      <p:sp>
        <p:nvSpPr>
          <p:cNvPr id="69" name="Rectangle 68">
            <a:extLst>
              <a:ext uri="{FF2B5EF4-FFF2-40B4-BE49-F238E27FC236}">
                <a16:creationId xmlns:a16="http://schemas.microsoft.com/office/drawing/2014/main" id="{B7762C5C-4E78-4E08-93B4-A9B0C70DE82D}"/>
              </a:ext>
            </a:extLst>
          </p:cNvPr>
          <p:cNvSpPr/>
          <p:nvPr/>
        </p:nvSpPr>
        <p:spPr>
          <a:xfrm>
            <a:off x="8949883" y="4727961"/>
            <a:ext cx="1480884" cy="216982"/>
          </a:xfrm>
          <a:prstGeom prst="rect">
            <a:avLst/>
          </a:prstGeom>
        </p:spPr>
        <p:txBody>
          <a:bodyPr wrap="square">
            <a:spAutoFit/>
          </a:bodyPr>
          <a:lstStyle/>
          <a:p>
            <a:pPr>
              <a:lnSpc>
                <a:spcPct val="90000"/>
              </a:lnSpc>
              <a:defRPr/>
            </a:pPr>
            <a:r>
              <a:rPr lang="en-CA" sz="900" b="1">
                <a:solidFill>
                  <a:srgbClr val="000000"/>
                </a:solidFill>
                <a:latin typeface="Open Sans" panose="020B0606030504020204" pitchFamily="34" charset="0"/>
                <a:ea typeface="Open Sans" panose="020B0606030504020204" pitchFamily="34" charset="0"/>
                <a:cs typeface="Open Sans" panose="020B0606030504020204" pitchFamily="34" charset="0"/>
              </a:rPr>
              <a:t>Go Live</a:t>
            </a:r>
            <a:endParaRPr lang="en-CA" sz="90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70" name="Group 69">
            <a:extLst>
              <a:ext uri="{FF2B5EF4-FFF2-40B4-BE49-F238E27FC236}">
                <a16:creationId xmlns:a16="http://schemas.microsoft.com/office/drawing/2014/main" id="{BF5F1E11-A556-4C44-82AB-7F140425301C}"/>
              </a:ext>
            </a:extLst>
          </p:cNvPr>
          <p:cNvGrpSpPr>
            <a:grpSpLocks noChangeAspect="1"/>
          </p:cNvGrpSpPr>
          <p:nvPr/>
        </p:nvGrpSpPr>
        <p:grpSpPr>
          <a:xfrm>
            <a:off x="8783782" y="4672767"/>
            <a:ext cx="273450" cy="273448"/>
            <a:chOff x="4173538" y="3455988"/>
            <a:chExt cx="288926" cy="288925"/>
          </a:xfrm>
        </p:grpSpPr>
        <p:sp>
          <p:nvSpPr>
            <p:cNvPr id="71" name="Freeform 159">
              <a:extLst>
                <a:ext uri="{FF2B5EF4-FFF2-40B4-BE49-F238E27FC236}">
                  <a16:creationId xmlns:a16="http://schemas.microsoft.com/office/drawing/2014/main" id="{96FC2FAF-0750-4AB0-981F-90643207ABA0}"/>
                </a:ext>
              </a:extLst>
            </p:cNvPr>
            <p:cNvSpPr>
              <a:spLocks/>
            </p:cNvSpPr>
            <p:nvPr/>
          </p:nvSpPr>
          <p:spPr bwMode="auto">
            <a:xfrm>
              <a:off x="4173538" y="3503613"/>
              <a:ext cx="241300" cy="241300"/>
            </a:xfrm>
            <a:custGeom>
              <a:avLst/>
              <a:gdLst>
                <a:gd name="T0" fmla="*/ 168 w 304"/>
                <a:gd name="T1" fmla="*/ 302 h 304"/>
                <a:gd name="T2" fmla="*/ 211 w 304"/>
                <a:gd name="T3" fmla="*/ 292 h 304"/>
                <a:gd name="T4" fmla="*/ 249 w 304"/>
                <a:gd name="T5" fmla="*/ 269 h 304"/>
                <a:gd name="T6" fmla="*/ 278 w 304"/>
                <a:gd name="T7" fmla="*/ 236 h 304"/>
                <a:gd name="T8" fmla="*/ 297 w 304"/>
                <a:gd name="T9" fmla="*/ 196 h 304"/>
                <a:gd name="T10" fmla="*/ 304 w 304"/>
                <a:gd name="T11" fmla="*/ 152 h 304"/>
                <a:gd name="T12" fmla="*/ 302 w 304"/>
                <a:gd name="T13" fmla="*/ 126 h 304"/>
                <a:gd name="T14" fmla="*/ 290 w 304"/>
                <a:gd name="T15" fmla="*/ 90 h 304"/>
                <a:gd name="T16" fmla="*/ 272 w 304"/>
                <a:gd name="T17" fmla="*/ 58 h 304"/>
                <a:gd name="T18" fmla="*/ 235 w 304"/>
                <a:gd name="T19" fmla="*/ 113 h 304"/>
                <a:gd name="T20" fmla="*/ 243 w 304"/>
                <a:gd name="T21" fmla="*/ 152 h 304"/>
                <a:gd name="T22" fmla="*/ 242 w 304"/>
                <a:gd name="T23" fmla="*/ 171 h 304"/>
                <a:gd name="T24" fmla="*/ 233 w 304"/>
                <a:gd name="T25" fmla="*/ 195 h 304"/>
                <a:gd name="T26" fmla="*/ 216 w 304"/>
                <a:gd name="T27" fmla="*/ 216 h 304"/>
                <a:gd name="T28" fmla="*/ 196 w 304"/>
                <a:gd name="T29" fmla="*/ 232 h 304"/>
                <a:gd name="T30" fmla="*/ 171 w 304"/>
                <a:gd name="T31" fmla="*/ 241 h 304"/>
                <a:gd name="T32" fmla="*/ 152 w 304"/>
                <a:gd name="T33" fmla="*/ 243 h 304"/>
                <a:gd name="T34" fmla="*/ 125 w 304"/>
                <a:gd name="T35" fmla="*/ 239 h 304"/>
                <a:gd name="T36" fmla="*/ 101 w 304"/>
                <a:gd name="T37" fmla="*/ 227 h 304"/>
                <a:gd name="T38" fmla="*/ 82 w 304"/>
                <a:gd name="T39" fmla="*/ 210 h 304"/>
                <a:gd name="T40" fmla="*/ 69 w 304"/>
                <a:gd name="T41" fmla="*/ 187 h 304"/>
                <a:gd name="T42" fmla="*/ 62 w 304"/>
                <a:gd name="T43" fmla="*/ 161 h 304"/>
                <a:gd name="T44" fmla="*/ 62 w 304"/>
                <a:gd name="T45" fmla="*/ 142 h 304"/>
                <a:gd name="T46" fmla="*/ 69 w 304"/>
                <a:gd name="T47" fmla="*/ 117 h 304"/>
                <a:gd name="T48" fmla="*/ 82 w 304"/>
                <a:gd name="T49" fmla="*/ 94 h 304"/>
                <a:gd name="T50" fmla="*/ 101 w 304"/>
                <a:gd name="T51" fmla="*/ 77 h 304"/>
                <a:gd name="T52" fmla="*/ 125 w 304"/>
                <a:gd name="T53" fmla="*/ 65 h 304"/>
                <a:gd name="T54" fmla="*/ 152 w 304"/>
                <a:gd name="T55" fmla="*/ 61 h 304"/>
                <a:gd name="T56" fmla="*/ 179 w 304"/>
                <a:gd name="T57" fmla="*/ 65 h 304"/>
                <a:gd name="T58" fmla="*/ 246 w 304"/>
                <a:gd name="T59" fmla="*/ 32 h 304"/>
                <a:gd name="T60" fmla="*/ 226 w 304"/>
                <a:gd name="T61" fmla="*/ 19 h 304"/>
                <a:gd name="T62" fmla="*/ 191 w 304"/>
                <a:gd name="T63" fmla="*/ 5 h 304"/>
                <a:gd name="T64" fmla="*/ 152 w 304"/>
                <a:gd name="T65" fmla="*/ 0 h 304"/>
                <a:gd name="T66" fmla="*/ 122 w 304"/>
                <a:gd name="T67" fmla="*/ 3 h 304"/>
                <a:gd name="T68" fmla="*/ 81 w 304"/>
                <a:gd name="T69" fmla="*/ 19 h 304"/>
                <a:gd name="T70" fmla="*/ 46 w 304"/>
                <a:gd name="T71" fmla="*/ 44 h 304"/>
                <a:gd name="T72" fmla="*/ 19 w 304"/>
                <a:gd name="T73" fmla="*/ 79 h 304"/>
                <a:gd name="T74" fmla="*/ 4 w 304"/>
                <a:gd name="T75" fmla="*/ 121 h 304"/>
                <a:gd name="T76" fmla="*/ 0 w 304"/>
                <a:gd name="T77" fmla="*/ 152 h 304"/>
                <a:gd name="T78" fmla="*/ 8 w 304"/>
                <a:gd name="T79" fmla="*/ 196 h 304"/>
                <a:gd name="T80" fmla="*/ 27 w 304"/>
                <a:gd name="T81" fmla="*/ 236 h 304"/>
                <a:gd name="T82" fmla="*/ 57 w 304"/>
                <a:gd name="T83" fmla="*/ 269 h 304"/>
                <a:gd name="T84" fmla="*/ 93 w 304"/>
                <a:gd name="T85" fmla="*/ 292 h 304"/>
                <a:gd name="T86" fmla="*/ 137 w 304"/>
                <a:gd name="T87" fmla="*/ 302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4" h="304">
                  <a:moveTo>
                    <a:pt x="152" y="304"/>
                  </a:moveTo>
                  <a:lnTo>
                    <a:pt x="152" y="304"/>
                  </a:lnTo>
                  <a:lnTo>
                    <a:pt x="168" y="302"/>
                  </a:lnTo>
                  <a:lnTo>
                    <a:pt x="183" y="301"/>
                  </a:lnTo>
                  <a:lnTo>
                    <a:pt x="198" y="297"/>
                  </a:lnTo>
                  <a:lnTo>
                    <a:pt x="211" y="292"/>
                  </a:lnTo>
                  <a:lnTo>
                    <a:pt x="225" y="285"/>
                  </a:lnTo>
                  <a:lnTo>
                    <a:pt x="237" y="278"/>
                  </a:lnTo>
                  <a:lnTo>
                    <a:pt x="249" y="269"/>
                  </a:lnTo>
                  <a:lnTo>
                    <a:pt x="259" y="259"/>
                  </a:lnTo>
                  <a:lnTo>
                    <a:pt x="269" y="249"/>
                  </a:lnTo>
                  <a:lnTo>
                    <a:pt x="278" y="236"/>
                  </a:lnTo>
                  <a:lnTo>
                    <a:pt x="286" y="224"/>
                  </a:lnTo>
                  <a:lnTo>
                    <a:pt x="292" y="211"/>
                  </a:lnTo>
                  <a:lnTo>
                    <a:pt x="297" y="196"/>
                  </a:lnTo>
                  <a:lnTo>
                    <a:pt x="301" y="183"/>
                  </a:lnTo>
                  <a:lnTo>
                    <a:pt x="304" y="167"/>
                  </a:lnTo>
                  <a:lnTo>
                    <a:pt x="304" y="152"/>
                  </a:lnTo>
                  <a:lnTo>
                    <a:pt x="304" y="152"/>
                  </a:lnTo>
                  <a:lnTo>
                    <a:pt x="304" y="138"/>
                  </a:lnTo>
                  <a:lnTo>
                    <a:pt x="302" y="126"/>
                  </a:lnTo>
                  <a:lnTo>
                    <a:pt x="300" y="113"/>
                  </a:lnTo>
                  <a:lnTo>
                    <a:pt x="296" y="101"/>
                  </a:lnTo>
                  <a:lnTo>
                    <a:pt x="290" y="90"/>
                  </a:lnTo>
                  <a:lnTo>
                    <a:pt x="285" y="79"/>
                  </a:lnTo>
                  <a:lnTo>
                    <a:pt x="280" y="69"/>
                  </a:lnTo>
                  <a:lnTo>
                    <a:pt x="272" y="58"/>
                  </a:lnTo>
                  <a:lnTo>
                    <a:pt x="229" y="102"/>
                  </a:lnTo>
                  <a:lnTo>
                    <a:pt x="229" y="102"/>
                  </a:lnTo>
                  <a:lnTo>
                    <a:pt x="235" y="113"/>
                  </a:lnTo>
                  <a:lnTo>
                    <a:pt x="239" y="125"/>
                  </a:lnTo>
                  <a:lnTo>
                    <a:pt x="242" y="138"/>
                  </a:lnTo>
                  <a:lnTo>
                    <a:pt x="243" y="152"/>
                  </a:lnTo>
                  <a:lnTo>
                    <a:pt x="243" y="152"/>
                  </a:lnTo>
                  <a:lnTo>
                    <a:pt x="243" y="161"/>
                  </a:lnTo>
                  <a:lnTo>
                    <a:pt x="242" y="171"/>
                  </a:lnTo>
                  <a:lnTo>
                    <a:pt x="239" y="179"/>
                  </a:lnTo>
                  <a:lnTo>
                    <a:pt x="237" y="187"/>
                  </a:lnTo>
                  <a:lnTo>
                    <a:pt x="233" y="195"/>
                  </a:lnTo>
                  <a:lnTo>
                    <a:pt x="229" y="203"/>
                  </a:lnTo>
                  <a:lnTo>
                    <a:pt x="223" y="210"/>
                  </a:lnTo>
                  <a:lnTo>
                    <a:pt x="216" y="216"/>
                  </a:lnTo>
                  <a:lnTo>
                    <a:pt x="210" y="222"/>
                  </a:lnTo>
                  <a:lnTo>
                    <a:pt x="203" y="227"/>
                  </a:lnTo>
                  <a:lnTo>
                    <a:pt x="196" y="232"/>
                  </a:lnTo>
                  <a:lnTo>
                    <a:pt x="188" y="235"/>
                  </a:lnTo>
                  <a:lnTo>
                    <a:pt x="179" y="239"/>
                  </a:lnTo>
                  <a:lnTo>
                    <a:pt x="171" y="241"/>
                  </a:lnTo>
                  <a:lnTo>
                    <a:pt x="161" y="242"/>
                  </a:lnTo>
                  <a:lnTo>
                    <a:pt x="152" y="243"/>
                  </a:lnTo>
                  <a:lnTo>
                    <a:pt x="152" y="243"/>
                  </a:lnTo>
                  <a:lnTo>
                    <a:pt x="143" y="242"/>
                  </a:lnTo>
                  <a:lnTo>
                    <a:pt x="135" y="241"/>
                  </a:lnTo>
                  <a:lnTo>
                    <a:pt x="125" y="239"/>
                  </a:lnTo>
                  <a:lnTo>
                    <a:pt x="117" y="235"/>
                  </a:lnTo>
                  <a:lnTo>
                    <a:pt x="109" y="232"/>
                  </a:lnTo>
                  <a:lnTo>
                    <a:pt x="101" y="227"/>
                  </a:lnTo>
                  <a:lnTo>
                    <a:pt x="94" y="222"/>
                  </a:lnTo>
                  <a:lnTo>
                    <a:pt x="88" y="216"/>
                  </a:lnTo>
                  <a:lnTo>
                    <a:pt x="82" y="210"/>
                  </a:lnTo>
                  <a:lnTo>
                    <a:pt x="77" y="203"/>
                  </a:lnTo>
                  <a:lnTo>
                    <a:pt x="73" y="195"/>
                  </a:lnTo>
                  <a:lnTo>
                    <a:pt x="69" y="187"/>
                  </a:lnTo>
                  <a:lnTo>
                    <a:pt x="66" y="179"/>
                  </a:lnTo>
                  <a:lnTo>
                    <a:pt x="63" y="171"/>
                  </a:lnTo>
                  <a:lnTo>
                    <a:pt x="62" y="161"/>
                  </a:lnTo>
                  <a:lnTo>
                    <a:pt x="62" y="152"/>
                  </a:lnTo>
                  <a:lnTo>
                    <a:pt x="62" y="152"/>
                  </a:lnTo>
                  <a:lnTo>
                    <a:pt x="62" y="142"/>
                  </a:lnTo>
                  <a:lnTo>
                    <a:pt x="63" y="133"/>
                  </a:lnTo>
                  <a:lnTo>
                    <a:pt x="66" y="125"/>
                  </a:lnTo>
                  <a:lnTo>
                    <a:pt x="69" y="117"/>
                  </a:lnTo>
                  <a:lnTo>
                    <a:pt x="73" y="109"/>
                  </a:lnTo>
                  <a:lnTo>
                    <a:pt x="77" y="101"/>
                  </a:lnTo>
                  <a:lnTo>
                    <a:pt x="82" y="94"/>
                  </a:lnTo>
                  <a:lnTo>
                    <a:pt x="88" y="87"/>
                  </a:lnTo>
                  <a:lnTo>
                    <a:pt x="94" y="82"/>
                  </a:lnTo>
                  <a:lnTo>
                    <a:pt x="101" y="77"/>
                  </a:lnTo>
                  <a:lnTo>
                    <a:pt x="109" y="71"/>
                  </a:lnTo>
                  <a:lnTo>
                    <a:pt x="117" y="69"/>
                  </a:lnTo>
                  <a:lnTo>
                    <a:pt x="125" y="65"/>
                  </a:lnTo>
                  <a:lnTo>
                    <a:pt x="135" y="63"/>
                  </a:lnTo>
                  <a:lnTo>
                    <a:pt x="143" y="62"/>
                  </a:lnTo>
                  <a:lnTo>
                    <a:pt x="152" y="61"/>
                  </a:lnTo>
                  <a:lnTo>
                    <a:pt x="152" y="61"/>
                  </a:lnTo>
                  <a:lnTo>
                    <a:pt x="165" y="62"/>
                  </a:lnTo>
                  <a:lnTo>
                    <a:pt x="179" y="65"/>
                  </a:lnTo>
                  <a:lnTo>
                    <a:pt x="191" y="70"/>
                  </a:lnTo>
                  <a:lnTo>
                    <a:pt x="203" y="75"/>
                  </a:lnTo>
                  <a:lnTo>
                    <a:pt x="246" y="32"/>
                  </a:lnTo>
                  <a:lnTo>
                    <a:pt x="246" y="32"/>
                  </a:lnTo>
                  <a:lnTo>
                    <a:pt x="237" y="26"/>
                  </a:lnTo>
                  <a:lnTo>
                    <a:pt x="226" y="19"/>
                  </a:lnTo>
                  <a:lnTo>
                    <a:pt x="214" y="14"/>
                  </a:lnTo>
                  <a:lnTo>
                    <a:pt x="203" y="8"/>
                  </a:lnTo>
                  <a:lnTo>
                    <a:pt x="191" y="5"/>
                  </a:lnTo>
                  <a:lnTo>
                    <a:pt x="179" y="3"/>
                  </a:lnTo>
                  <a:lnTo>
                    <a:pt x="165" y="0"/>
                  </a:lnTo>
                  <a:lnTo>
                    <a:pt x="152" y="0"/>
                  </a:lnTo>
                  <a:lnTo>
                    <a:pt x="152" y="0"/>
                  </a:lnTo>
                  <a:lnTo>
                    <a:pt x="137" y="1"/>
                  </a:lnTo>
                  <a:lnTo>
                    <a:pt x="122" y="3"/>
                  </a:lnTo>
                  <a:lnTo>
                    <a:pt x="108" y="7"/>
                  </a:lnTo>
                  <a:lnTo>
                    <a:pt x="93" y="12"/>
                  </a:lnTo>
                  <a:lnTo>
                    <a:pt x="81" y="19"/>
                  </a:lnTo>
                  <a:lnTo>
                    <a:pt x="67" y="26"/>
                  </a:lnTo>
                  <a:lnTo>
                    <a:pt x="57" y="35"/>
                  </a:lnTo>
                  <a:lnTo>
                    <a:pt x="46" y="44"/>
                  </a:lnTo>
                  <a:lnTo>
                    <a:pt x="35" y="55"/>
                  </a:lnTo>
                  <a:lnTo>
                    <a:pt x="27" y="67"/>
                  </a:lnTo>
                  <a:lnTo>
                    <a:pt x="19" y="79"/>
                  </a:lnTo>
                  <a:lnTo>
                    <a:pt x="12" y="93"/>
                  </a:lnTo>
                  <a:lnTo>
                    <a:pt x="8" y="106"/>
                  </a:lnTo>
                  <a:lnTo>
                    <a:pt x="4" y="121"/>
                  </a:lnTo>
                  <a:lnTo>
                    <a:pt x="2" y="136"/>
                  </a:lnTo>
                  <a:lnTo>
                    <a:pt x="0" y="152"/>
                  </a:lnTo>
                  <a:lnTo>
                    <a:pt x="0" y="152"/>
                  </a:lnTo>
                  <a:lnTo>
                    <a:pt x="2" y="167"/>
                  </a:lnTo>
                  <a:lnTo>
                    <a:pt x="4" y="183"/>
                  </a:lnTo>
                  <a:lnTo>
                    <a:pt x="8" y="196"/>
                  </a:lnTo>
                  <a:lnTo>
                    <a:pt x="12" y="211"/>
                  </a:lnTo>
                  <a:lnTo>
                    <a:pt x="19" y="224"/>
                  </a:lnTo>
                  <a:lnTo>
                    <a:pt x="27" y="236"/>
                  </a:lnTo>
                  <a:lnTo>
                    <a:pt x="35" y="249"/>
                  </a:lnTo>
                  <a:lnTo>
                    <a:pt x="46" y="259"/>
                  </a:lnTo>
                  <a:lnTo>
                    <a:pt x="57" y="269"/>
                  </a:lnTo>
                  <a:lnTo>
                    <a:pt x="67" y="278"/>
                  </a:lnTo>
                  <a:lnTo>
                    <a:pt x="81" y="285"/>
                  </a:lnTo>
                  <a:lnTo>
                    <a:pt x="93" y="292"/>
                  </a:lnTo>
                  <a:lnTo>
                    <a:pt x="108" y="297"/>
                  </a:lnTo>
                  <a:lnTo>
                    <a:pt x="122" y="301"/>
                  </a:lnTo>
                  <a:lnTo>
                    <a:pt x="137" y="302"/>
                  </a:lnTo>
                  <a:lnTo>
                    <a:pt x="152" y="304"/>
                  </a:lnTo>
                  <a:lnTo>
                    <a:pt x="152" y="3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Open Sans"/>
              </a:endParaRPr>
            </a:p>
          </p:txBody>
        </p:sp>
        <p:sp>
          <p:nvSpPr>
            <p:cNvPr id="72" name="Freeform 160">
              <a:extLst>
                <a:ext uri="{FF2B5EF4-FFF2-40B4-BE49-F238E27FC236}">
                  <a16:creationId xmlns:a16="http://schemas.microsoft.com/office/drawing/2014/main" id="{439152BE-A647-4E77-A6A7-B561B6105C78}"/>
                </a:ext>
              </a:extLst>
            </p:cNvPr>
            <p:cNvSpPr>
              <a:spLocks/>
            </p:cNvSpPr>
            <p:nvPr/>
          </p:nvSpPr>
          <p:spPr bwMode="auto">
            <a:xfrm>
              <a:off x="4270376" y="3455988"/>
              <a:ext cx="192088" cy="192088"/>
            </a:xfrm>
            <a:custGeom>
              <a:avLst/>
              <a:gdLst>
                <a:gd name="T0" fmla="*/ 229 w 242"/>
                <a:gd name="T1" fmla="*/ 13 h 243"/>
                <a:gd name="T2" fmla="*/ 225 w 242"/>
                <a:gd name="T3" fmla="*/ 12 h 243"/>
                <a:gd name="T4" fmla="*/ 221 w 242"/>
                <a:gd name="T5" fmla="*/ 13 h 243"/>
                <a:gd name="T6" fmla="*/ 194 w 242"/>
                <a:gd name="T7" fmla="*/ 4 h 243"/>
                <a:gd name="T8" fmla="*/ 193 w 242"/>
                <a:gd name="T9" fmla="*/ 1 h 243"/>
                <a:gd name="T10" fmla="*/ 190 w 242"/>
                <a:gd name="T11" fmla="*/ 0 h 243"/>
                <a:gd name="T12" fmla="*/ 184 w 242"/>
                <a:gd name="T13" fmla="*/ 1 h 243"/>
                <a:gd name="T14" fmla="*/ 147 w 242"/>
                <a:gd name="T15" fmla="*/ 37 h 243"/>
                <a:gd name="T16" fmla="*/ 145 w 242"/>
                <a:gd name="T17" fmla="*/ 44 h 243"/>
                <a:gd name="T18" fmla="*/ 47 w 242"/>
                <a:gd name="T19" fmla="*/ 186 h 243"/>
                <a:gd name="T20" fmla="*/ 39 w 242"/>
                <a:gd name="T21" fmla="*/ 182 h 243"/>
                <a:gd name="T22" fmla="*/ 30 w 242"/>
                <a:gd name="T23" fmla="*/ 181 h 243"/>
                <a:gd name="T24" fmla="*/ 19 w 242"/>
                <a:gd name="T25" fmla="*/ 184 h 243"/>
                <a:gd name="T26" fmla="*/ 8 w 242"/>
                <a:gd name="T27" fmla="*/ 190 h 243"/>
                <a:gd name="T28" fmla="*/ 3 w 242"/>
                <a:gd name="T29" fmla="*/ 200 h 243"/>
                <a:gd name="T30" fmla="*/ 0 w 242"/>
                <a:gd name="T31" fmla="*/ 212 h 243"/>
                <a:gd name="T32" fmla="*/ 0 w 242"/>
                <a:gd name="T33" fmla="*/ 219 h 243"/>
                <a:gd name="T34" fmla="*/ 6 w 242"/>
                <a:gd name="T35" fmla="*/ 229 h 243"/>
                <a:gd name="T36" fmla="*/ 14 w 242"/>
                <a:gd name="T37" fmla="*/ 237 h 243"/>
                <a:gd name="T38" fmla="*/ 25 w 242"/>
                <a:gd name="T39" fmla="*/ 241 h 243"/>
                <a:gd name="T40" fmla="*/ 30 w 242"/>
                <a:gd name="T41" fmla="*/ 243 h 243"/>
                <a:gd name="T42" fmla="*/ 42 w 242"/>
                <a:gd name="T43" fmla="*/ 240 h 243"/>
                <a:gd name="T44" fmla="*/ 51 w 242"/>
                <a:gd name="T45" fmla="*/ 233 h 243"/>
                <a:gd name="T46" fmla="*/ 58 w 242"/>
                <a:gd name="T47" fmla="*/ 224 h 243"/>
                <a:gd name="T48" fmla="*/ 61 w 242"/>
                <a:gd name="T49" fmla="*/ 212 h 243"/>
                <a:gd name="T50" fmla="*/ 60 w 242"/>
                <a:gd name="T51" fmla="*/ 202 h 243"/>
                <a:gd name="T52" fmla="*/ 166 w 242"/>
                <a:gd name="T53" fmla="*/ 86 h 243"/>
                <a:gd name="T54" fmla="*/ 198 w 242"/>
                <a:gd name="T55" fmla="*/ 96 h 243"/>
                <a:gd name="T56" fmla="*/ 201 w 242"/>
                <a:gd name="T57" fmla="*/ 96 h 243"/>
                <a:gd name="T58" fmla="*/ 205 w 242"/>
                <a:gd name="T59" fmla="*/ 95 h 243"/>
                <a:gd name="T60" fmla="*/ 241 w 242"/>
                <a:gd name="T61" fmla="*/ 59 h 243"/>
                <a:gd name="T62" fmla="*/ 242 w 242"/>
                <a:gd name="T63" fmla="*/ 52 h 243"/>
                <a:gd name="T64" fmla="*/ 241 w 242"/>
                <a:gd name="T65" fmla="*/ 49 h 243"/>
                <a:gd name="T66" fmla="*/ 211 w 242"/>
                <a:gd name="T67" fmla="*/ 40 h 243"/>
                <a:gd name="T68" fmla="*/ 229 w 242"/>
                <a:gd name="T69" fmla="*/ 22 h 243"/>
                <a:gd name="T70" fmla="*/ 230 w 242"/>
                <a:gd name="T71" fmla="*/ 17 h 243"/>
                <a:gd name="T72" fmla="*/ 229 w 242"/>
                <a:gd name="T73" fmla="*/ 1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2" h="243">
                  <a:moveTo>
                    <a:pt x="229" y="13"/>
                  </a:moveTo>
                  <a:lnTo>
                    <a:pt x="229" y="13"/>
                  </a:lnTo>
                  <a:lnTo>
                    <a:pt x="227" y="12"/>
                  </a:lnTo>
                  <a:lnTo>
                    <a:pt x="225" y="12"/>
                  </a:lnTo>
                  <a:lnTo>
                    <a:pt x="222" y="12"/>
                  </a:lnTo>
                  <a:lnTo>
                    <a:pt x="221" y="13"/>
                  </a:lnTo>
                  <a:lnTo>
                    <a:pt x="203" y="31"/>
                  </a:lnTo>
                  <a:lnTo>
                    <a:pt x="194" y="4"/>
                  </a:lnTo>
                  <a:lnTo>
                    <a:pt x="194" y="4"/>
                  </a:lnTo>
                  <a:lnTo>
                    <a:pt x="193" y="1"/>
                  </a:lnTo>
                  <a:lnTo>
                    <a:pt x="190" y="0"/>
                  </a:lnTo>
                  <a:lnTo>
                    <a:pt x="190" y="0"/>
                  </a:lnTo>
                  <a:lnTo>
                    <a:pt x="187" y="0"/>
                  </a:lnTo>
                  <a:lnTo>
                    <a:pt x="184" y="1"/>
                  </a:lnTo>
                  <a:lnTo>
                    <a:pt x="147" y="37"/>
                  </a:lnTo>
                  <a:lnTo>
                    <a:pt x="147" y="37"/>
                  </a:lnTo>
                  <a:lnTo>
                    <a:pt x="145" y="40"/>
                  </a:lnTo>
                  <a:lnTo>
                    <a:pt x="145" y="44"/>
                  </a:lnTo>
                  <a:lnTo>
                    <a:pt x="158" y="76"/>
                  </a:lnTo>
                  <a:lnTo>
                    <a:pt x="47" y="186"/>
                  </a:lnTo>
                  <a:lnTo>
                    <a:pt x="47" y="186"/>
                  </a:lnTo>
                  <a:lnTo>
                    <a:pt x="39" y="182"/>
                  </a:lnTo>
                  <a:lnTo>
                    <a:pt x="30" y="181"/>
                  </a:lnTo>
                  <a:lnTo>
                    <a:pt x="30" y="181"/>
                  </a:lnTo>
                  <a:lnTo>
                    <a:pt x="25" y="182"/>
                  </a:lnTo>
                  <a:lnTo>
                    <a:pt x="19" y="184"/>
                  </a:lnTo>
                  <a:lnTo>
                    <a:pt x="14" y="186"/>
                  </a:lnTo>
                  <a:lnTo>
                    <a:pt x="8" y="190"/>
                  </a:lnTo>
                  <a:lnTo>
                    <a:pt x="6" y="194"/>
                  </a:lnTo>
                  <a:lnTo>
                    <a:pt x="3" y="200"/>
                  </a:lnTo>
                  <a:lnTo>
                    <a:pt x="0" y="205"/>
                  </a:lnTo>
                  <a:lnTo>
                    <a:pt x="0" y="212"/>
                  </a:lnTo>
                  <a:lnTo>
                    <a:pt x="0" y="212"/>
                  </a:lnTo>
                  <a:lnTo>
                    <a:pt x="0" y="219"/>
                  </a:lnTo>
                  <a:lnTo>
                    <a:pt x="3" y="224"/>
                  </a:lnTo>
                  <a:lnTo>
                    <a:pt x="6" y="229"/>
                  </a:lnTo>
                  <a:lnTo>
                    <a:pt x="8" y="233"/>
                  </a:lnTo>
                  <a:lnTo>
                    <a:pt x="14" y="237"/>
                  </a:lnTo>
                  <a:lnTo>
                    <a:pt x="19" y="240"/>
                  </a:lnTo>
                  <a:lnTo>
                    <a:pt x="25" y="241"/>
                  </a:lnTo>
                  <a:lnTo>
                    <a:pt x="30" y="243"/>
                  </a:lnTo>
                  <a:lnTo>
                    <a:pt x="30" y="243"/>
                  </a:lnTo>
                  <a:lnTo>
                    <a:pt x="37" y="241"/>
                  </a:lnTo>
                  <a:lnTo>
                    <a:pt x="42" y="240"/>
                  </a:lnTo>
                  <a:lnTo>
                    <a:pt x="47" y="237"/>
                  </a:lnTo>
                  <a:lnTo>
                    <a:pt x="51" y="233"/>
                  </a:lnTo>
                  <a:lnTo>
                    <a:pt x="55" y="229"/>
                  </a:lnTo>
                  <a:lnTo>
                    <a:pt x="58" y="224"/>
                  </a:lnTo>
                  <a:lnTo>
                    <a:pt x="60" y="219"/>
                  </a:lnTo>
                  <a:lnTo>
                    <a:pt x="61" y="212"/>
                  </a:lnTo>
                  <a:lnTo>
                    <a:pt x="61" y="212"/>
                  </a:lnTo>
                  <a:lnTo>
                    <a:pt x="60" y="202"/>
                  </a:lnTo>
                  <a:lnTo>
                    <a:pt x="55" y="196"/>
                  </a:lnTo>
                  <a:lnTo>
                    <a:pt x="166" y="86"/>
                  </a:lnTo>
                  <a:lnTo>
                    <a:pt x="198" y="96"/>
                  </a:lnTo>
                  <a:lnTo>
                    <a:pt x="198" y="96"/>
                  </a:lnTo>
                  <a:lnTo>
                    <a:pt x="201" y="96"/>
                  </a:lnTo>
                  <a:lnTo>
                    <a:pt x="201" y="96"/>
                  </a:lnTo>
                  <a:lnTo>
                    <a:pt x="203" y="96"/>
                  </a:lnTo>
                  <a:lnTo>
                    <a:pt x="205" y="95"/>
                  </a:lnTo>
                  <a:lnTo>
                    <a:pt x="241" y="59"/>
                  </a:lnTo>
                  <a:lnTo>
                    <a:pt x="241" y="59"/>
                  </a:lnTo>
                  <a:lnTo>
                    <a:pt x="242" y="56"/>
                  </a:lnTo>
                  <a:lnTo>
                    <a:pt x="242" y="52"/>
                  </a:lnTo>
                  <a:lnTo>
                    <a:pt x="242" y="52"/>
                  </a:lnTo>
                  <a:lnTo>
                    <a:pt x="241" y="49"/>
                  </a:lnTo>
                  <a:lnTo>
                    <a:pt x="238" y="48"/>
                  </a:lnTo>
                  <a:lnTo>
                    <a:pt x="211" y="40"/>
                  </a:lnTo>
                  <a:lnTo>
                    <a:pt x="229" y="22"/>
                  </a:lnTo>
                  <a:lnTo>
                    <a:pt x="229" y="22"/>
                  </a:lnTo>
                  <a:lnTo>
                    <a:pt x="230" y="20"/>
                  </a:lnTo>
                  <a:lnTo>
                    <a:pt x="230" y="17"/>
                  </a:lnTo>
                  <a:lnTo>
                    <a:pt x="230" y="16"/>
                  </a:lnTo>
                  <a:lnTo>
                    <a:pt x="229" y="13"/>
                  </a:lnTo>
                  <a:lnTo>
                    <a:pt x="229"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Open Sans"/>
              </a:endParaRPr>
            </a:p>
          </p:txBody>
        </p:sp>
      </p:grpSp>
      <p:sp>
        <p:nvSpPr>
          <p:cNvPr id="73" name="Pentagon 12">
            <a:extLst>
              <a:ext uri="{FF2B5EF4-FFF2-40B4-BE49-F238E27FC236}">
                <a16:creationId xmlns:a16="http://schemas.microsoft.com/office/drawing/2014/main" id="{1D5112D6-1FF6-4FFA-8EF8-78EF209465A2}"/>
              </a:ext>
            </a:extLst>
          </p:cNvPr>
          <p:cNvSpPr/>
          <p:nvPr>
            <p:custDataLst>
              <p:tags r:id="rId9"/>
            </p:custDataLst>
          </p:nvPr>
        </p:nvSpPr>
        <p:spPr>
          <a:xfrm>
            <a:off x="5668326" y="2997684"/>
            <a:ext cx="1218507" cy="403945"/>
          </a:xfrm>
          <a:prstGeom prst="rect">
            <a:avLst/>
          </a:prstGeom>
          <a:noFill/>
          <a:ln w="12700" cap="flat" cmpd="sng" algn="ctr">
            <a:noFill/>
            <a:prstDash val="solid"/>
            <a:miter lim="800000"/>
          </a:ln>
          <a:effectLst/>
        </p:spPr>
        <p:txBody>
          <a:bodyPr rtlCol="0" anchor="ctr"/>
          <a:lstStyle/>
          <a:p>
            <a:pPr>
              <a:lnSpc>
                <a:spcPct val="90000"/>
              </a:lnSpc>
              <a:defRPr/>
            </a:pPr>
            <a:r>
              <a:rPr lang="en-CA" sz="900" b="1" kern="0">
                <a:solidFill>
                  <a:srgbClr val="000000"/>
                </a:solidFill>
                <a:latin typeface="Open Sans"/>
              </a:rPr>
              <a:t>Creative Assets Are Delivered</a:t>
            </a:r>
          </a:p>
        </p:txBody>
      </p:sp>
      <p:sp>
        <p:nvSpPr>
          <p:cNvPr id="74" name="Oval 73">
            <a:extLst>
              <a:ext uri="{FF2B5EF4-FFF2-40B4-BE49-F238E27FC236}">
                <a16:creationId xmlns:a16="http://schemas.microsoft.com/office/drawing/2014/main" id="{47592337-DB0C-4FB1-9AA5-0AF00914FF6F}"/>
              </a:ext>
            </a:extLst>
          </p:cNvPr>
          <p:cNvSpPr/>
          <p:nvPr/>
        </p:nvSpPr>
        <p:spPr>
          <a:xfrm>
            <a:off x="5545770" y="3127445"/>
            <a:ext cx="158406" cy="148211"/>
          </a:xfrm>
          <a:prstGeom prst="ellipse">
            <a:avLst/>
          </a:prstGeom>
          <a:solidFill>
            <a:srgbClr val="FFFFFF"/>
          </a:solidFill>
          <a:ln w="9525" cap="flat" cmpd="sng" algn="ctr">
            <a:solidFill>
              <a:srgbClr val="34F0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Open Sans"/>
                <a:ea typeface="+mn-ea"/>
                <a:cs typeface="+mn-cs"/>
              </a:rPr>
              <a:t>3</a:t>
            </a:r>
          </a:p>
        </p:txBody>
      </p:sp>
      <p:sp>
        <p:nvSpPr>
          <p:cNvPr id="75" name="Pentagon 12">
            <a:extLst>
              <a:ext uri="{FF2B5EF4-FFF2-40B4-BE49-F238E27FC236}">
                <a16:creationId xmlns:a16="http://schemas.microsoft.com/office/drawing/2014/main" id="{D22B460D-0FF5-49D4-9DCE-48B71ED46F36}"/>
              </a:ext>
            </a:extLst>
          </p:cNvPr>
          <p:cNvSpPr/>
          <p:nvPr>
            <p:custDataLst>
              <p:tags r:id="rId10"/>
            </p:custDataLst>
          </p:nvPr>
        </p:nvSpPr>
        <p:spPr>
          <a:xfrm>
            <a:off x="4623833" y="2118797"/>
            <a:ext cx="1351672" cy="403945"/>
          </a:xfrm>
          <a:prstGeom prst="rect">
            <a:avLst/>
          </a:prstGeom>
          <a:noFill/>
          <a:ln w="12700" cap="flat" cmpd="sng" algn="ctr">
            <a:noFill/>
            <a:prstDash val="solid"/>
            <a:miter lim="800000"/>
          </a:ln>
          <a:effectLst/>
        </p:spPr>
        <p:txBody>
          <a:bodyPr rtlCol="0" anchor="ctr"/>
          <a:lstStyle/>
          <a:p>
            <a:pPr>
              <a:lnSpc>
                <a:spcPct val="90000"/>
              </a:lnSpc>
              <a:defRPr/>
            </a:pPr>
            <a:r>
              <a:rPr lang="en-CA" sz="900" b="1" kern="0">
                <a:solidFill>
                  <a:srgbClr val="000000"/>
                </a:solidFill>
                <a:latin typeface="Open Sans"/>
              </a:rPr>
              <a:t>Sign-off on Blueprint &amp; Use Case</a:t>
            </a:r>
          </a:p>
        </p:txBody>
      </p:sp>
      <p:sp>
        <p:nvSpPr>
          <p:cNvPr id="76" name="Oval 75">
            <a:extLst>
              <a:ext uri="{FF2B5EF4-FFF2-40B4-BE49-F238E27FC236}">
                <a16:creationId xmlns:a16="http://schemas.microsoft.com/office/drawing/2014/main" id="{995C8FC5-2BCF-4DD3-921C-C795D27A6872}"/>
              </a:ext>
            </a:extLst>
          </p:cNvPr>
          <p:cNvSpPr/>
          <p:nvPr/>
        </p:nvSpPr>
        <p:spPr>
          <a:xfrm>
            <a:off x="4501276" y="2186412"/>
            <a:ext cx="158406" cy="148211"/>
          </a:xfrm>
          <a:prstGeom prst="ellipse">
            <a:avLst/>
          </a:prstGeom>
          <a:solidFill>
            <a:srgbClr val="FFFFFF"/>
          </a:solidFill>
          <a:ln w="9525" cap="flat" cmpd="sng" algn="ctr">
            <a:solidFill>
              <a:srgbClr val="86F2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Open Sans"/>
                <a:ea typeface="+mn-ea"/>
                <a:cs typeface="+mn-cs"/>
              </a:rPr>
              <a:t>2</a:t>
            </a:r>
          </a:p>
        </p:txBody>
      </p:sp>
      <p:grpSp>
        <p:nvGrpSpPr>
          <p:cNvPr id="77" name="Group 76">
            <a:extLst>
              <a:ext uri="{FF2B5EF4-FFF2-40B4-BE49-F238E27FC236}">
                <a16:creationId xmlns:a16="http://schemas.microsoft.com/office/drawing/2014/main" id="{62446196-6816-49AD-A8CF-60F293A1F7AA}"/>
              </a:ext>
            </a:extLst>
          </p:cNvPr>
          <p:cNvGrpSpPr/>
          <p:nvPr/>
        </p:nvGrpSpPr>
        <p:grpSpPr>
          <a:xfrm>
            <a:off x="5485893" y="4015573"/>
            <a:ext cx="220424" cy="212434"/>
            <a:chOff x="7053571" y="2135929"/>
            <a:chExt cx="193122" cy="193122"/>
          </a:xfrm>
        </p:grpSpPr>
        <p:sp>
          <p:nvSpPr>
            <p:cNvPr id="78" name="Oval 77">
              <a:extLst>
                <a:ext uri="{FF2B5EF4-FFF2-40B4-BE49-F238E27FC236}">
                  <a16:creationId xmlns:a16="http://schemas.microsoft.com/office/drawing/2014/main" id="{1FA1BB16-8C78-4630-AAC8-4BE1285EFC01}"/>
                </a:ext>
              </a:extLst>
            </p:cNvPr>
            <p:cNvSpPr/>
            <p:nvPr/>
          </p:nvSpPr>
          <p:spPr>
            <a:xfrm>
              <a:off x="7053571" y="2135929"/>
              <a:ext cx="193122" cy="193122"/>
            </a:xfrm>
            <a:prstGeom prst="ellipse">
              <a:avLst/>
            </a:prstGeom>
            <a:solidFill>
              <a:srgbClr val="FFFFF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grpSp>
          <p:nvGrpSpPr>
            <p:cNvPr id="79" name="Group 78">
              <a:extLst>
                <a:ext uri="{FF2B5EF4-FFF2-40B4-BE49-F238E27FC236}">
                  <a16:creationId xmlns:a16="http://schemas.microsoft.com/office/drawing/2014/main" id="{197937C7-4F7A-4730-B4BB-DDBBD6054C86}"/>
                </a:ext>
              </a:extLst>
            </p:cNvPr>
            <p:cNvGrpSpPr/>
            <p:nvPr/>
          </p:nvGrpSpPr>
          <p:grpSpPr>
            <a:xfrm>
              <a:off x="7094672" y="2177830"/>
              <a:ext cx="141444" cy="111018"/>
              <a:chOff x="6590384" y="1159101"/>
              <a:chExt cx="141444" cy="111018"/>
            </a:xfrm>
          </p:grpSpPr>
          <p:sp>
            <p:nvSpPr>
              <p:cNvPr id="80" name="Arc 79">
                <a:extLst>
                  <a:ext uri="{FF2B5EF4-FFF2-40B4-BE49-F238E27FC236}">
                    <a16:creationId xmlns:a16="http://schemas.microsoft.com/office/drawing/2014/main" id="{32EBF90A-69F6-4B36-8964-456250063D01}"/>
                  </a:ext>
                </a:extLst>
              </p:cNvPr>
              <p:cNvSpPr/>
              <p:nvPr/>
            </p:nvSpPr>
            <p:spPr>
              <a:xfrm>
                <a:off x="6590384" y="1159101"/>
                <a:ext cx="111018" cy="111018"/>
              </a:xfrm>
              <a:prstGeom prst="arc">
                <a:avLst>
                  <a:gd name="adj1" fmla="val 21092437"/>
                  <a:gd name="adj2" fmla="val 17792096"/>
                </a:avLst>
              </a:prstGeom>
              <a:noFill/>
              <a:ln w="28575" cap="flat" cmpd="sng" algn="ctr">
                <a:solidFill>
                  <a:srgbClr val="000000"/>
                </a:solidFill>
                <a:prstDash val="solid"/>
                <a:miter lim="800000"/>
                <a:headEnd type="none"/>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mn-ea"/>
                  <a:cs typeface="+mn-cs"/>
                </a:endParaRPr>
              </a:p>
            </p:txBody>
          </p:sp>
          <p:sp>
            <p:nvSpPr>
              <p:cNvPr id="81" name="Isosceles Triangle 136">
                <a:extLst>
                  <a:ext uri="{FF2B5EF4-FFF2-40B4-BE49-F238E27FC236}">
                    <a16:creationId xmlns:a16="http://schemas.microsoft.com/office/drawing/2014/main" id="{F4B7CB7F-8B01-4702-B660-60FA79E8ACC1}"/>
                  </a:ext>
                </a:extLst>
              </p:cNvPr>
              <p:cNvSpPr/>
              <p:nvPr/>
            </p:nvSpPr>
            <p:spPr>
              <a:xfrm>
                <a:off x="6670976" y="1173110"/>
                <a:ext cx="60852" cy="45719"/>
              </a:xfrm>
              <a:prstGeom prst="triangle">
                <a:avLst/>
              </a:prstGeom>
              <a:solidFill>
                <a:srgbClr val="000000"/>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grpSp>
      </p:grpSp>
      <p:grpSp>
        <p:nvGrpSpPr>
          <p:cNvPr id="82" name="Group 81">
            <a:extLst>
              <a:ext uri="{FF2B5EF4-FFF2-40B4-BE49-F238E27FC236}">
                <a16:creationId xmlns:a16="http://schemas.microsoft.com/office/drawing/2014/main" id="{09BFEB25-D98B-49D5-B536-17AEF4C9A92D}"/>
              </a:ext>
            </a:extLst>
          </p:cNvPr>
          <p:cNvGrpSpPr/>
          <p:nvPr/>
        </p:nvGrpSpPr>
        <p:grpSpPr>
          <a:xfrm>
            <a:off x="914400" y="5031493"/>
            <a:ext cx="589010" cy="967666"/>
            <a:chOff x="914971" y="2505893"/>
            <a:chExt cx="589010" cy="1727487"/>
          </a:xfrm>
        </p:grpSpPr>
        <p:sp>
          <p:nvSpPr>
            <p:cNvPr id="83" name="Rectangle 82">
              <a:extLst>
                <a:ext uri="{FF2B5EF4-FFF2-40B4-BE49-F238E27FC236}">
                  <a16:creationId xmlns:a16="http://schemas.microsoft.com/office/drawing/2014/main" id="{B3140F3B-636E-4DD1-93FF-F4BC25358FD5}"/>
                </a:ext>
              </a:extLst>
            </p:cNvPr>
            <p:cNvSpPr/>
            <p:nvPr>
              <p:custDataLst>
                <p:tags r:id="rId13"/>
              </p:custDataLst>
            </p:nvPr>
          </p:nvSpPr>
          <p:spPr>
            <a:xfrm>
              <a:off x="914971" y="2505893"/>
              <a:ext cx="511539" cy="1727487"/>
            </a:xfrm>
            <a:prstGeom prst="rect">
              <a:avLst/>
            </a:prstGeom>
            <a:solidFill>
              <a:srgbClr val="FFFFFF">
                <a:lumMod val="50000"/>
              </a:srgbClr>
            </a:solidFill>
            <a:ln w="12700" cap="flat" cmpd="sng" algn="ctr">
              <a:noFill/>
              <a:prstDash val="solid"/>
              <a:miter lim="800000"/>
            </a:ln>
            <a:effectLst/>
          </p:spPr>
          <p:txBody>
            <a:bodyPr vert="vert270" rtlCol="0" anchor="ct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CA" sz="1050" b="1" i="0" u="none" strike="noStrike" kern="0" cap="none" spc="0" normalizeH="0" baseline="0" noProof="0">
                  <a:ln>
                    <a:noFill/>
                  </a:ln>
                  <a:solidFill>
                    <a:srgbClr val="FFFFFF"/>
                  </a:solidFill>
                  <a:effectLst/>
                  <a:uLnTx/>
                  <a:uFillTx/>
                  <a:latin typeface="Open Sans"/>
                </a:rPr>
                <a:t>PHASE </a:t>
              </a:r>
            </a:p>
            <a:p>
              <a:pPr marL="0" marR="0" lvl="0" indent="0" algn="ctr" defTabSz="914400" eaLnBrk="1" fontAlgn="auto" latinLnBrk="0" hangingPunct="1">
                <a:lnSpc>
                  <a:spcPct val="80000"/>
                </a:lnSpc>
                <a:spcBef>
                  <a:spcPts val="0"/>
                </a:spcBef>
                <a:spcAft>
                  <a:spcPts val="0"/>
                </a:spcAft>
                <a:buClrTx/>
                <a:buSzTx/>
                <a:buFontTx/>
                <a:buNone/>
                <a:tabLst/>
                <a:defRPr/>
              </a:pPr>
              <a:r>
                <a:rPr kumimoji="0" lang="en-CA" sz="1050" b="1" i="0" u="none" strike="noStrike" kern="0" cap="none" spc="0" normalizeH="0" baseline="0" noProof="0">
                  <a:ln>
                    <a:noFill/>
                  </a:ln>
                  <a:solidFill>
                    <a:srgbClr val="FFFFFF"/>
                  </a:solidFill>
                  <a:effectLst/>
                  <a:uLnTx/>
                  <a:uFillTx/>
                  <a:latin typeface="Open Sans"/>
                </a:rPr>
                <a:t>3</a:t>
              </a:r>
            </a:p>
          </p:txBody>
        </p:sp>
        <p:sp>
          <p:nvSpPr>
            <p:cNvPr id="84" name="Rectangle 83">
              <a:extLst>
                <a:ext uri="{FF2B5EF4-FFF2-40B4-BE49-F238E27FC236}">
                  <a16:creationId xmlns:a16="http://schemas.microsoft.com/office/drawing/2014/main" id="{91267836-FAAC-42EB-AB4D-869302280CE4}"/>
                </a:ext>
              </a:extLst>
            </p:cNvPr>
            <p:cNvSpPr/>
            <p:nvPr>
              <p:custDataLst>
                <p:tags r:id="rId14"/>
              </p:custDataLst>
            </p:nvPr>
          </p:nvSpPr>
          <p:spPr>
            <a:xfrm>
              <a:off x="1426375" y="2505893"/>
              <a:ext cx="77606" cy="1727487"/>
            </a:xfrm>
            <a:prstGeom prst="rect">
              <a:avLst/>
            </a:prstGeom>
            <a:solidFill>
              <a:srgbClr val="3EFAC5"/>
            </a:solidFill>
            <a:ln w="12700" cap="flat" cmpd="sng" algn="ctr">
              <a:solidFill>
                <a:srgbClr val="3EFAC5"/>
              </a:solidFill>
              <a:prstDash val="solid"/>
              <a:miter lim="800000"/>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700" b="1" i="0" u="none" strike="noStrike" kern="0" cap="none" spc="0" normalizeH="0" baseline="0" noProof="0">
                <a:ln>
                  <a:noFill/>
                </a:ln>
                <a:solidFill>
                  <a:srgbClr val="000000">
                    <a:lumMod val="50000"/>
                    <a:lumOff val="50000"/>
                  </a:srgbClr>
                </a:solidFill>
                <a:effectLst/>
                <a:uLnTx/>
                <a:uFillTx/>
                <a:latin typeface="Open Sans"/>
              </a:endParaRPr>
            </a:p>
          </p:txBody>
        </p:sp>
      </p:grpSp>
      <p:sp>
        <p:nvSpPr>
          <p:cNvPr id="85" name="Rectangle 84">
            <a:extLst>
              <a:ext uri="{FF2B5EF4-FFF2-40B4-BE49-F238E27FC236}">
                <a16:creationId xmlns:a16="http://schemas.microsoft.com/office/drawing/2014/main" id="{7DDA9F1D-CA4A-4519-8B98-8DA4F177FD42}"/>
              </a:ext>
            </a:extLst>
          </p:cNvPr>
          <p:cNvSpPr/>
          <p:nvPr>
            <p:custDataLst>
              <p:tags r:id="rId11"/>
            </p:custDataLst>
          </p:nvPr>
        </p:nvSpPr>
        <p:spPr>
          <a:xfrm>
            <a:off x="8787910" y="5235951"/>
            <a:ext cx="3050995" cy="141971"/>
          </a:xfrm>
          <a:prstGeom prst="rect">
            <a:avLst/>
          </a:prstGeom>
          <a:solidFill>
            <a:srgbClr val="3EFAC5"/>
          </a:solidFill>
          <a:ln w="12700" cap="flat" cmpd="sng" algn="ctr">
            <a:noFill/>
            <a:prstDash val="solid"/>
            <a:miter lim="800000"/>
          </a:ln>
          <a:effectLst/>
        </p:spPr>
        <p:txBody>
          <a:bodyPr rtlCol="0" anchor="ctr"/>
          <a:lstStyle/>
          <a:p>
            <a:pPr marL="0" marR="0" lvl="0" indent="0" defTabSz="914400" eaLnBrk="1" fontAlgn="auto" latinLnBrk="0" hangingPunct="1">
              <a:lnSpc>
                <a:spcPct val="90000"/>
              </a:lnSpc>
              <a:spcBef>
                <a:spcPts val="0"/>
              </a:spcBef>
              <a:spcAft>
                <a:spcPts val="0"/>
              </a:spcAft>
              <a:buClrTx/>
              <a:buSzTx/>
              <a:buFontTx/>
              <a:buNone/>
              <a:tabLst/>
              <a:defRPr/>
            </a:pPr>
            <a:r>
              <a:rPr kumimoji="0" lang="en-CA" sz="900" b="1" i="0" u="none" strike="noStrike" kern="0" cap="none" spc="0" normalizeH="0" baseline="0" noProof="0">
                <a:ln>
                  <a:noFill/>
                </a:ln>
                <a:solidFill>
                  <a:srgbClr val="000000"/>
                </a:solidFill>
                <a:effectLst/>
                <a:uLnTx/>
                <a:uFillTx/>
                <a:latin typeface="Open Sans"/>
              </a:rPr>
              <a:t>Operate</a:t>
            </a:r>
          </a:p>
        </p:txBody>
      </p:sp>
      <p:sp>
        <p:nvSpPr>
          <p:cNvPr id="86" name="Pentagon 17">
            <a:extLst>
              <a:ext uri="{FF2B5EF4-FFF2-40B4-BE49-F238E27FC236}">
                <a16:creationId xmlns:a16="http://schemas.microsoft.com/office/drawing/2014/main" id="{0AF0EB74-FAE0-4220-8484-DFD3E4280103}"/>
              </a:ext>
            </a:extLst>
          </p:cNvPr>
          <p:cNvSpPr/>
          <p:nvPr>
            <p:custDataLst>
              <p:tags r:id="rId12"/>
            </p:custDataLst>
          </p:nvPr>
        </p:nvSpPr>
        <p:spPr>
          <a:xfrm>
            <a:off x="8783781" y="5371547"/>
            <a:ext cx="3103419" cy="343798"/>
          </a:xfrm>
          <a:prstGeom prst="homePlate">
            <a:avLst>
              <a:gd name="adj" fmla="val 11801"/>
            </a:avLst>
          </a:prstGeom>
          <a:solidFill>
            <a:srgbClr val="3EFAC5">
              <a:lumMod val="20000"/>
              <a:lumOff val="80000"/>
            </a:srgbClr>
          </a:solidFill>
          <a:ln w="12700" cap="flat" cmpd="sng" algn="ctr">
            <a:noFill/>
            <a:prstDash val="solid"/>
            <a:miter lim="800000"/>
          </a:ln>
          <a:effectLst/>
        </p:spPr>
        <p:txBody>
          <a:bodyPr rtlCol="0" anchor="ctr"/>
          <a:lstStyle/>
          <a:p>
            <a:pPr marL="58738" marR="0" lvl="0" indent="-58738" defTabSz="91440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CA" sz="700" b="0" i="0" u="none" strike="noStrike" kern="0" cap="none" spc="0" normalizeH="0" baseline="0" noProof="0">
                <a:ln>
                  <a:noFill/>
                </a:ln>
                <a:solidFill>
                  <a:srgbClr val="000000"/>
                </a:solidFill>
                <a:effectLst/>
                <a:uLnTx/>
                <a:uFillTx/>
                <a:latin typeface="Open Sans"/>
              </a:rPr>
              <a:t>Monitor use cases</a:t>
            </a:r>
          </a:p>
          <a:p>
            <a:pPr marL="58738" marR="0" lvl="0" indent="-58738" defTabSz="91440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CA" sz="700" b="0" i="0" u="none" strike="noStrike" kern="0" cap="none" spc="0" normalizeH="0" baseline="0" noProof="0">
                <a:ln>
                  <a:noFill/>
                </a:ln>
                <a:solidFill>
                  <a:srgbClr val="000000"/>
                </a:solidFill>
                <a:effectLst/>
                <a:uLnTx/>
                <a:uFillTx/>
                <a:latin typeface="Open Sans"/>
              </a:rPr>
              <a:t>Scale campaigns </a:t>
            </a:r>
          </a:p>
          <a:p>
            <a:pPr marL="58738" marR="0" lvl="0" indent="-58738" defTabSz="91440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CA" sz="700" b="0" i="0" u="none" strike="noStrike" kern="0" cap="none" spc="0" normalizeH="0" baseline="0" noProof="0">
                <a:ln>
                  <a:noFill/>
                </a:ln>
                <a:solidFill>
                  <a:srgbClr val="000000"/>
                </a:solidFill>
                <a:effectLst/>
                <a:uLnTx/>
                <a:uFillTx/>
                <a:latin typeface="Open Sans"/>
              </a:rPr>
              <a:t>Optimize campaigns </a:t>
            </a:r>
          </a:p>
        </p:txBody>
      </p:sp>
      <p:sp>
        <p:nvSpPr>
          <p:cNvPr id="87" name="Text Placeholder 2">
            <a:extLst>
              <a:ext uri="{FF2B5EF4-FFF2-40B4-BE49-F238E27FC236}">
                <a16:creationId xmlns:a16="http://schemas.microsoft.com/office/drawing/2014/main" id="{97EC8A22-9435-40F6-9908-6BF1A2882A4C}"/>
              </a:ext>
            </a:extLst>
          </p:cNvPr>
          <p:cNvSpPr txBox="1">
            <a:spLocks/>
          </p:cNvSpPr>
          <p:nvPr/>
        </p:nvSpPr>
        <p:spPr>
          <a:xfrm>
            <a:off x="709238" y="826460"/>
            <a:ext cx="10362880" cy="47548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12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400" b="0" i="0" u="none" strike="noStrike" kern="1200" cap="none" spc="-30" normalizeH="0" baseline="0" noProof="0" dirty="0">
                <a:ln>
                  <a:noFill/>
                </a:ln>
                <a:solidFill>
                  <a:srgbClr val="000000"/>
                </a:solidFill>
                <a:effectLst/>
                <a:uLnTx/>
                <a:uFillTx/>
                <a:latin typeface="Open Sans"/>
                <a:ea typeface="Open Sans" charset="0"/>
                <a:cs typeface="Open Sans" charset="0"/>
              </a:rPr>
              <a:t>Interaction Studio implementations range in complexity and duration, but for platform setup and MVP activation, a 12-14 weeks timeline can be expected. </a:t>
            </a:r>
          </a:p>
        </p:txBody>
      </p:sp>
    </p:spTree>
    <p:extLst>
      <p:ext uri="{BB962C8B-B14F-4D97-AF65-F5344CB8AC3E}">
        <p14:creationId xmlns:p14="http://schemas.microsoft.com/office/powerpoint/2010/main" val="152787853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0">
            <a:extLst>
              <a:ext uri="{FF2B5EF4-FFF2-40B4-BE49-F238E27FC236}">
                <a16:creationId xmlns:a16="http://schemas.microsoft.com/office/drawing/2014/main" id="{54F0E06A-7E06-4475-B31E-2EC43034958C}"/>
              </a:ext>
            </a:extLst>
          </p:cNvPr>
          <p:cNvSpPr txBox="1">
            <a:spLocks/>
          </p:cNvSpPr>
          <p:nvPr/>
        </p:nvSpPr>
        <p:spPr>
          <a:xfrm>
            <a:off x="-1" y="165101"/>
            <a:ext cx="12191999" cy="409330"/>
          </a:xfrm>
          <a:prstGeom prst="rect">
            <a:avLst/>
          </a:prstGeom>
          <a:solidFill>
            <a:schemeClr val="tx1"/>
          </a:solidFill>
        </p:spPr>
        <p:txBody>
          <a:bodyPr vert="horz" lIns="0" tIns="45720" rIns="0" bIns="0" rtlCol="0" anchor="b" anchorCtr="0">
            <a:noAutofit/>
          </a:bodyPr>
          <a:lstStyle>
            <a:lvl1pPr algn="l" defTabSz="914400" rtl="0" eaLnBrk="1" latinLnBrk="0" hangingPunct="1">
              <a:lnSpc>
                <a:spcPct val="90000"/>
              </a:lnSpc>
              <a:spcBef>
                <a:spcPct val="0"/>
              </a:spcBef>
              <a:buNone/>
              <a:defRPr lang="en-US" sz="3600" b="0" kern="1200" spc="-75" dirty="0">
                <a:solidFill>
                  <a:schemeClr val="tx1"/>
                </a:solidFill>
                <a:latin typeface="+mj-lt"/>
                <a:ea typeface="+mj-ea"/>
                <a:cs typeface="+mj-cs"/>
              </a:defRPr>
            </a:lvl1pPr>
          </a:lstStyle>
          <a:p>
            <a:pPr algn="ctr"/>
            <a:r>
              <a:rPr lang="en-US" sz="2800" b="1" dirty="0">
                <a:solidFill>
                  <a:schemeClr val="bg1"/>
                </a:solidFill>
              </a:rPr>
              <a:t>IS ‘s Core Components</a:t>
            </a:r>
          </a:p>
        </p:txBody>
      </p:sp>
      <p:pic>
        <p:nvPicPr>
          <p:cNvPr id="28" name="Picture 27">
            <a:extLst>
              <a:ext uri="{FF2B5EF4-FFF2-40B4-BE49-F238E27FC236}">
                <a16:creationId xmlns:a16="http://schemas.microsoft.com/office/drawing/2014/main" id="{A407B2AF-0953-4E9A-9E22-D7A08F8B0195}"/>
              </a:ext>
            </a:extLst>
          </p:cNvPr>
          <p:cNvPicPr>
            <a:picLocks noChangeAspect="1"/>
          </p:cNvPicPr>
          <p:nvPr/>
        </p:nvPicPr>
        <p:blipFill>
          <a:blip r:embed="rId3"/>
          <a:stretch>
            <a:fillRect/>
          </a:stretch>
        </p:blipFill>
        <p:spPr>
          <a:xfrm>
            <a:off x="337678" y="6426731"/>
            <a:ext cx="3133725" cy="238125"/>
          </a:xfrm>
          <a:prstGeom prst="rect">
            <a:avLst/>
          </a:prstGeom>
        </p:spPr>
      </p:pic>
      <p:sp>
        <p:nvSpPr>
          <p:cNvPr id="11" name="Rectangle 10">
            <a:extLst>
              <a:ext uri="{FF2B5EF4-FFF2-40B4-BE49-F238E27FC236}">
                <a16:creationId xmlns:a16="http://schemas.microsoft.com/office/drawing/2014/main" id="{D9BCB380-C090-4BFA-A104-797154EC1B03}"/>
              </a:ext>
            </a:extLst>
          </p:cNvPr>
          <p:cNvSpPr/>
          <p:nvPr/>
        </p:nvSpPr>
        <p:spPr>
          <a:xfrm>
            <a:off x="914400" y="1217752"/>
            <a:ext cx="3656661" cy="2308324"/>
          </a:xfrm>
          <a:prstGeom prst="rect">
            <a:avLst/>
          </a:prstGeom>
        </p:spPr>
        <p:txBody>
          <a:bodyPr wrap="square">
            <a:spAutoFit/>
          </a:bodyPr>
          <a:lstStyle/>
          <a:p>
            <a:pPr marL="742950" lvl="1" indent="-285750">
              <a:buClr>
                <a:srgbClr val="34F0FF"/>
              </a:buClr>
              <a:buFont typeface="Wingdings" panose="05000000000000000000" pitchFamily="2" charset="2"/>
              <a:buChar char="v"/>
            </a:pPr>
            <a:endParaRPr lang="en-US" sz="1600" dirty="0">
              <a:solidFill>
                <a:srgbClr val="000000"/>
              </a:solidFill>
              <a:latin typeface="Open Sans"/>
            </a:endParaRPr>
          </a:p>
          <a:p>
            <a:pPr marL="742950" lvl="1" indent="-285750">
              <a:buClr>
                <a:srgbClr val="34F0FF"/>
              </a:buClr>
              <a:buFont typeface="Wingdings" panose="05000000000000000000" pitchFamily="2" charset="2"/>
              <a:buChar char="v"/>
            </a:pPr>
            <a:r>
              <a:rPr lang="en-US" sz="1600" dirty="0">
                <a:solidFill>
                  <a:srgbClr val="000000"/>
                </a:solidFill>
                <a:latin typeface="Open Sans"/>
              </a:rPr>
              <a:t>Platform &amp; User Setup</a:t>
            </a:r>
          </a:p>
          <a:p>
            <a:pPr marL="742950" lvl="1" indent="-285750">
              <a:buClr>
                <a:srgbClr val="34F0FF"/>
              </a:buClr>
              <a:buFont typeface="Wingdings" panose="05000000000000000000" pitchFamily="2" charset="2"/>
              <a:buChar char="v"/>
            </a:pPr>
            <a:r>
              <a:rPr lang="en-US" sz="1600" dirty="0">
                <a:solidFill>
                  <a:srgbClr val="000000"/>
                </a:solidFill>
                <a:latin typeface="Open Sans"/>
              </a:rPr>
              <a:t> SFTP and Dataset Setup</a:t>
            </a:r>
          </a:p>
          <a:p>
            <a:pPr marL="742950" lvl="1" indent="-285750">
              <a:buClr>
                <a:srgbClr val="34F0FF"/>
              </a:buClr>
              <a:buFont typeface="Wingdings" panose="05000000000000000000" pitchFamily="2" charset="2"/>
              <a:buChar char="v"/>
            </a:pPr>
            <a:r>
              <a:rPr lang="en-US" sz="1600" dirty="0">
                <a:solidFill>
                  <a:srgbClr val="000000"/>
                </a:solidFill>
                <a:latin typeface="Open Sans"/>
              </a:rPr>
              <a:t>IS Beacon </a:t>
            </a:r>
          </a:p>
          <a:p>
            <a:pPr marL="742950" lvl="1" indent="-285750">
              <a:buClr>
                <a:srgbClr val="34F0FF"/>
              </a:buClr>
              <a:buFont typeface="Wingdings" panose="05000000000000000000" pitchFamily="2" charset="2"/>
              <a:buChar char="v"/>
            </a:pPr>
            <a:r>
              <a:rPr lang="en-US" sz="1600" dirty="0">
                <a:solidFill>
                  <a:srgbClr val="000000"/>
                </a:solidFill>
                <a:latin typeface="Open Sans"/>
              </a:rPr>
              <a:t>Sitemap </a:t>
            </a:r>
          </a:p>
          <a:p>
            <a:pPr marL="742950" lvl="1" indent="-285750">
              <a:buClr>
                <a:srgbClr val="34F0FF"/>
              </a:buClr>
              <a:buFont typeface="Wingdings" panose="05000000000000000000" pitchFamily="2" charset="2"/>
              <a:buChar char="v"/>
            </a:pPr>
            <a:r>
              <a:rPr lang="en-US" sz="1600" dirty="0">
                <a:solidFill>
                  <a:srgbClr val="000000"/>
                </a:solidFill>
                <a:latin typeface="Open Sans"/>
              </a:rPr>
              <a:t>Data Layer </a:t>
            </a:r>
          </a:p>
          <a:p>
            <a:pPr marL="742950" lvl="1" indent="-285750">
              <a:buClr>
                <a:srgbClr val="34F0FF"/>
              </a:buClr>
              <a:buFont typeface="Wingdings" panose="05000000000000000000" pitchFamily="2" charset="2"/>
              <a:buChar char="v"/>
            </a:pPr>
            <a:r>
              <a:rPr lang="en-US" sz="1600" dirty="0">
                <a:solidFill>
                  <a:srgbClr val="000000"/>
                </a:solidFill>
                <a:latin typeface="Open Sans"/>
              </a:rPr>
              <a:t>Catalog Setup </a:t>
            </a:r>
          </a:p>
          <a:p>
            <a:pPr marL="742950" lvl="1" indent="-285750">
              <a:buClr>
                <a:srgbClr val="34F0FF"/>
              </a:buClr>
              <a:buFont typeface="Wingdings" panose="05000000000000000000" pitchFamily="2" charset="2"/>
              <a:buChar char="v"/>
            </a:pPr>
            <a:r>
              <a:rPr lang="en-US" sz="1600" dirty="0">
                <a:solidFill>
                  <a:srgbClr val="000000"/>
                </a:solidFill>
                <a:latin typeface="Open Sans"/>
              </a:rPr>
              <a:t>Unified Customer Profile </a:t>
            </a:r>
          </a:p>
          <a:p>
            <a:pPr marL="742950" lvl="1" indent="-285750">
              <a:buClr>
                <a:srgbClr val="34F0FF"/>
              </a:buClr>
              <a:buFont typeface="Wingdings" panose="05000000000000000000" pitchFamily="2" charset="2"/>
              <a:buChar char="v"/>
            </a:pPr>
            <a:r>
              <a:rPr lang="en-US" sz="1600" dirty="0">
                <a:solidFill>
                  <a:srgbClr val="000000"/>
                </a:solidFill>
                <a:latin typeface="Open Sans"/>
              </a:rPr>
              <a:t>ETL </a:t>
            </a:r>
          </a:p>
        </p:txBody>
      </p:sp>
      <p:sp>
        <p:nvSpPr>
          <p:cNvPr id="12" name="Rectangle 11">
            <a:extLst>
              <a:ext uri="{FF2B5EF4-FFF2-40B4-BE49-F238E27FC236}">
                <a16:creationId xmlns:a16="http://schemas.microsoft.com/office/drawing/2014/main" id="{0274DD2B-8A02-4D56-A9BC-1C14A94DA4CE}"/>
              </a:ext>
            </a:extLst>
          </p:cNvPr>
          <p:cNvSpPr/>
          <p:nvPr/>
        </p:nvSpPr>
        <p:spPr>
          <a:xfrm>
            <a:off x="935109" y="3742552"/>
            <a:ext cx="3860264" cy="1569660"/>
          </a:xfrm>
          <a:prstGeom prst="rect">
            <a:avLst/>
          </a:prstGeom>
        </p:spPr>
        <p:txBody>
          <a:bodyPr wrap="square">
            <a:spAutoFit/>
          </a:bodyPr>
          <a:lstStyle/>
          <a:p>
            <a:pPr marL="742950" lvl="1" indent="-285750">
              <a:buClr>
                <a:srgbClr val="34F0FF"/>
              </a:buClr>
              <a:buFont typeface="Wingdings" panose="05000000000000000000" pitchFamily="2" charset="2"/>
              <a:buChar char="v"/>
            </a:pPr>
            <a:r>
              <a:rPr lang="en-US" sz="1600" dirty="0">
                <a:solidFill>
                  <a:srgbClr val="000000"/>
                </a:solidFill>
                <a:latin typeface="Open Sans"/>
              </a:rPr>
              <a:t>Promotions </a:t>
            </a:r>
          </a:p>
          <a:p>
            <a:pPr marL="742950" lvl="1" indent="-285750">
              <a:buClr>
                <a:srgbClr val="34F0FF"/>
              </a:buClr>
              <a:buFont typeface="Wingdings" panose="05000000000000000000" pitchFamily="2" charset="2"/>
              <a:buChar char="v"/>
            </a:pPr>
            <a:r>
              <a:rPr lang="en-US" sz="1600" dirty="0">
                <a:solidFill>
                  <a:srgbClr val="000000"/>
                </a:solidFill>
                <a:latin typeface="Open Sans"/>
              </a:rPr>
              <a:t>Recipes &amp; Recommendations</a:t>
            </a:r>
          </a:p>
          <a:p>
            <a:pPr marL="742950" lvl="1" indent="-285750">
              <a:buClr>
                <a:srgbClr val="34F0FF"/>
              </a:buClr>
              <a:buFont typeface="Wingdings" panose="05000000000000000000" pitchFamily="2" charset="2"/>
              <a:buChar char="v"/>
            </a:pPr>
            <a:r>
              <a:rPr lang="en-US" sz="1600" dirty="0">
                <a:solidFill>
                  <a:srgbClr val="000000"/>
                </a:solidFill>
                <a:latin typeface="Open Sans"/>
              </a:rPr>
              <a:t>User Segments </a:t>
            </a:r>
          </a:p>
          <a:p>
            <a:pPr marL="742950" lvl="1" indent="-285750">
              <a:buClr>
                <a:srgbClr val="34F0FF"/>
              </a:buClr>
              <a:buFont typeface="Wingdings" panose="05000000000000000000" pitchFamily="2" charset="2"/>
              <a:buChar char="v"/>
            </a:pPr>
            <a:r>
              <a:rPr lang="en-US" sz="1600" dirty="0">
                <a:solidFill>
                  <a:srgbClr val="000000"/>
                </a:solidFill>
                <a:latin typeface="Open Sans"/>
              </a:rPr>
              <a:t>Campaigns</a:t>
            </a:r>
          </a:p>
          <a:p>
            <a:pPr marL="742950" lvl="1" indent="-285750">
              <a:buClr>
                <a:srgbClr val="34F0FF"/>
              </a:buClr>
              <a:buFont typeface="Wingdings" panose="05000000000000000000" pitchFamily="2" charset="2"/>
              <a:buChar char="v"/>
            </a:pPr>
            <a:r>
              <a:rPr lang="en-US" sz="1600" dirty="0">
                <a:solidFill>
                  <a:srgbClr val="000000"/>
                </a:solidFill>
                <a:latin typeface="Open Sans"/>
              </a:rPr>
              <a:t>Web Template</a:t>
            </a:r>
          </a:p>
          <a:p>
            <a:pPr marL="742950" lvl="1" indent="-285750">
              <a:buClr>
                <a:srgbClr val="34F0FF"/>
              </a:buClr>
              <a:buFont typeface="Wingdings" panose="05000000000000000000" pitchFamily="2" charset="2"/>
              <a:buChar char="v"/>
            </a:pPr>
            <a:r>
              <a:rPr lang="en-US" sz="1600" dirty="0">
                <a:solidFill>
                  <a:srgbClr val="000000"/>
                </a:solidFill>
                <a:latin typeface="Open Sans"/>
              </a:rPr>
              <a:t>Reporting</a:t>
            </a:r>
          </a:p>
        </p:txBody>
      </p:sp>
      <p:sp>
        <p:nvSpPr>
          <p:cNvPr id="13" name="Rectangle 12">
            <a:extLst>
              <a:ext uri="{FF2B5EF4-FFF2-40B4-BE49-F238E27FC236}">
                <a16:creationId xmlns:a16="http://schemas.microsoft.com/office/drawing/2014/main" id="{688F4B88-530F-4864-B91B-B4D4B1EF5BC4}"/>
              </a:ext>
            </a:extLst>
          </p:cNvPr>
          <p:cNvSpPr/>
          <p:nvPr/>
        </p:nvSpPr>
        <p:spPr>
          <a:xfrm>
            <a:off x="914400" y="1006867"/>
            <a:ext cx="4376791" cy="5419864"/>
          </a:xfrm>
          <a:prstGeom prst="rect">
            <a:avLst/>
          </a:prstGeom>
          <a:noFill/>
          <a:ln w="19050" cap="flat" cmpd="sng" algn="ctr">
            <a:solidFill>
              <a:srgbClr val="34F0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grpSp>
        <p:nvGrpSpPr>
          <p:cNvPr id="14" name="Group 13">
            <a:extLst>
              <a:ext uri="{FF2B5EF4-FFF2-40B4-BE49-F238E27FC236}">
                <a16:creationId xmlns:a16="http://schemas.microsoft.com/office/drawing/2014/main" id="{3DC3D67A-25D6-4A47-8A94-EA7E3374B73D}"/>
              </a:ext>
            </a:extLst>
          </p:cNvPr>
          <p:cNvGrpSpPr>
            <a:grpSpLocks noChangeAspect="1"/>
          </p:cNvGrpSpPr>
          <p:nvPr/>
        </p:nvGrpSpPr>
        <p:grpSpPr>
          <a:xfrm>
            <a:off x="4795373" y="1125517"/>
            <a:ext cx="404387" cy="404387"/>
            <a:chOff x="9353551" y="823913"/>
            <a:chExt cx="522288" cy="522288"/>
          </a:xfrm>
          <a:solidFill>
            <a:srgbClr val="34F0FF"/>
          </a:solidFill>
        </p:grpSpPr>
        <p:sp>
          <p:nvSpPr>
            <p:cNvPr id="15" name="Freeform 40">
              <a:extLst>
                <a:ext uri="{FF2B5EF4-FFF2-40B4-BE49-F238E27FC236}">
                  <a16:creationId xmlns:a16="http://schemas.microsoft.com/office/drawing/2014/main" id="{B70AFCBE-314C-4610-9A52-8876DB4BD20B}"/>
                </a:ext>
              </a:extLst>
            </p:cNvPr>
            <p:cNvSpPr>
              <a:spLocks noEditPoints="1"/>
            </p:cNvSpPr>
            <p:nvPr/>
          </p:nvSpPr>
          <p:spPr bwMode="auto">
            <a:xfrm>
              <a:off x="9353551" y="823913"/>
              <a:ext cx="522288" cy="522288"/>
            </a:xfrm>
            <a:custGeom>
              <a:avLst/>
              <a:gdLst>
                <a:gd name="T0" fmla="*/ 311 w 656"/>
                <a:gd name="T1" fmla="*/ 657 h 659"/>
                <a:gd name="T2" fmla="*/ 262 w 656"/>
                <a:gd name="T3" fmla="*/ 652 h 659"/>
                <a:gd name="T4" fmla="*/ 200 w 656"/>
                <a:gd name="T5" fmla="*/ 633 h 659"/>
                <a:gd name="T6" fmla="*/ 119 w 656"/>
                <a:gd name="T7" fmla="*/ 583 h 659"/>
                <a:gd name="T8" fmla="*/ 56 w 656"/>
                <a:gd name="T9" fmla="*/ 514 h 659"/>
                <a:gd name="T10" fmla="*/ 14 w 656"/>
                <a:gd name="T11" fmla="*/ 428 h 659"/>
                <a:gd name="T12" fmla="*/ 4 w 656"/>
                <a:gd name="T13" fmla="*/ 379 h 659"/>
                <a:gd name="T14" fmla="*/ 0 w 656"/>
                <a:gd name="T15" fmla="*/ 329 h 659"/>
                <a:gd name="T16" fmla="*/ 1 w 656"/>
                <a:gd name="T17" fmla="*/ 296 h 659"/>
                <a:gd name="T18" fmla="*/ 9 w 656"/>
                <a:gd name="T19" fmla="*/ 248 h 659"/>
                <a:gd name="T20" fmla="*/ 39 w 656"/>
                <a:gd name="T21" fmla="*/ 172 h 659"/>
                <a:gd name="T22" fmla="*/ 96 w 656"/>
                <a:gd name="T23" fmla="*/ 97 h 659"/>
                <a:gd name="T24" fmla="*/ 172 w 656"/>
                <a:gd name="T25" fmla="*/ 41 h 659"/>
                <a:gd name="T26" fmla="*/ 245 w 656"/>
                <a:gd name="T27" fmla="*/ 11 h 659"/>
                <a:gd name="T28" fmla="*/ 295 w 656"/>
                <a:gd name="T29" fmla="*/ 3 h 659"/>
                <a:gd name="T30" fmla="*/ 329 w 656"/>
                <a:gd name="T31" fmla="*/ 0 h 659"/>
                <a:gd name="T32" fmla="*/ 378 w 656"/>
                <a:gd name="T33" fmla="*/ 4 h 659"/>
                <a:gd name="T34" fmla="*/ 425 w 656"/>
                <a:gd name="T35" fmla="*/ 15 h 659"/>
                <a:gd name="T36" fmla="*/ 511 w 656"/>
                <a:gd name="T37" fmla="*/ 57 h 659"/>
                <a:gd name="T38" fmla="*/ 581 w 656"/>
                <a:gd name="T39" fmla="*/ 120 h 659"/>
                <a:gd name="T40" fmla="*/ 631 w 656"/>
                <a:gd name="T41" fmla="*/ 202 h 659"/>
                <a:gd name="T42" fmla="*/ 650 w 656"/>
                <a:gd name="T43" fmla="*/ 264 h 659"/>
                <a:gd name="T44" fmla="*/ 656 w 656"/>
                <a:gd name="T45" fmla="*/ 312 h 659"/>
                <a:gd name="T46" fmla="*/ 656 w 656"/>
                <a:gd name="T47" fmla="*/ 347 h 659"/>
                <a:gd name="T48" fmla="*/ 650 w 656"/>
                <a:gd name="T49" fmla="*/ 395 h 659"/>
                <a:gd name="T50" fmla="*/ 631 w 656"/>
                <a:gd name="T51" fmla="*/ 457 h 659"/>
                <a:gd name="T52" fmla="*/ 581 w 656"/>
                <a:gd name="T53" fmla="*/ 539 h 659"/>
                <a:gd name="T54" fmla="*/ 511 w 656"/>
                <a:gd name="T55" fmla="*/ 602 h 659"/>
                <a:gd name="T56" fmla="*/ 425 w 656"/>
                <a:gd name="T57" fmla="*/ 644 h 659"/>
                <a:gd name="T58" fmla="*/ 378 w 656"/>
                <a:gd name="T59" fmla="*/ 655 h 659"/>
                <a:gd name="T60" fmla="*/ 329 w 656"/>
                <a:gd name="T61" fmla="*/ 659 h 659"/>
                <a:gd name="T62" fmla="*/ 329 w 656"/>
                <a:gd name="T63" fmla="*/ 38 h 659"/>
                <a:gd name="T64" fmla="*/ 241 w 656"/>
                <a:gd name="T65" fmla="*/ 51 h 659"/>
                <a:gd name="T66" fmla="*/ 165 w 656"/>
                <a:gd name="T67" fmla="*/ 88 h 659"/>
                <a:gd name="T68" fmla="*/ 103 w 656"/>
                <a:gd name="T69" fmla="*/ 144 h 659"/>
                <a:gd name="T70" fmla="*/ 60 w 656"/>
                <a:gd name="T71" fmla="*/ 217 h 659"/>
                <a:gd name="T72" fmla="*/ 39 w 656"/>
                <a:gd name="T73" fmla="*/ 300 h 659"/>
                <a:gd name="T74" fmla="*/ 39 w 656"/>
                <a:gd name="T75" fmla="*/ 359 h 659"/>
                <a:gd name="T76" fmla="*/ 60 w 656"/>
                <a:gd name="T77" fmla="*/ 442 h 659"/>
                <a:gd name="T78" fmla="*/ 103 w 656"/>
                <a:gd name="T79" fmla="*/ 515 h 659"/>
                <a:gd name="T80" fmla="*/ 165 w 656"/>
                <a:gd name="T81" fmla="*/ 571 h 659"/>
                <a:gd name="T82" fmla="*/ 241 w 656"/>
                <a:gd name="T83" fmla="*/ 608 h 659"/>
                <a:gd name="T84" fmla="*/ 329 w 656"/>
                <a:gd name="T85" fmla="*/ 621 h 659"/>
                <a:gd name="T86" fmla="*/ 386 w 656"/>
                <a:gd name="T87" fmla="*/ 614 h 659"/>
                <a:gd name="T88" fmla="*/ 467 w 656"/>
                <a:gd name="T89" fmla="*/ 586 h 659"/>
                <a:gd name="T90" fmla="*/ 534 w 656"/>
                <a:gd name="T91" fmla="*/ 535 h 659"/>
                <a:gd name="T92" fmla="*/ 584 w 656"/>
                <a:gd name="T93" fmla="*/ 468 h 659"/>
                <a:gd name="T94" fmla="*/ 613 w 656"/>
                <a:gd name="T95" fmla="*/ 389 h 659"/>
                <a:gd name="T96" fmla="*/ 619 w 656"/>
                <a:gd name="T97" fmla="*/ 329 h 659"/>
                <a:gd name="T98" fmla="*/ 607 w 656"/>
                <a:gd name="T99" fmla="*/ 244 h 659"/>
                <a:gd name="T100" fmla="*/ 569 w 656"/>
                <a:gd name="T101" fmla="*/ 167 h 659"/>
                <a:gd name="T102" fmla="*/ 513 w 656"/>
                <a:gd name="T103" fmla="*/ 105 h 659"/>
                <a:gd name="T104" fmla="*/ 442 w 656"/>
                <a:gd name="T105" fmla="*/ 61 h 659"/>
                <a:gd name="T106" fmla="*/ 358 w 656"/>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6" h="659">
                  <a:moveTo>
                    <a:pt x="329" y="659"/>
                  </a:moveTo>
                  <a:lnTo>
                    <a:pt x="329" y="659"/>
                  </a:lnTo>
                  <a:lnTo>
                    <a:pt x="311" y="657"/>
                  </a:lnTo>
                  <a:lnTo>
                    <a:pt x="295" y="657"/>
                  </a:lnTo>
                  <a:lnTo>
                    <a:pt x="278" y="655"/>
                  </a:lnTo>
                  <a:lnTo>
                    <a:pt x="262" y="652"/>
                  </a:lnTo>
                  <a:lnTo>
                    <a:pt x="245" y="648"/>
                  </a:lnTo>
                  <a:lnTo>
                    <a:pt x="231" y="644"/>
                  </a:lnTo>
                  <a:lnTo>
                    <a:pt x="200" y="633"/>
                  </a:lnTo>
                  <a:lnTo>
                    <a:pt x="172" y="618"/>
                  </a:lnTo>
                  <a:lnTo>
                    <a:pt x="145" y="602"/>
                  </a:lnTo>
                  <a:lnTo>
                    <a:pt x="119" y="583"/>
                  </a:lnTo>
                  <a:lnTo>
                    <a:pt x="96" y="562"/>
                  </a:lnTo>
                  <a:lnTo>
                    <a:pt x="75" y="539"/>
                  </a:lnTo>
                  <a:lnTo>
                    <a:pt x="56" y="514"/>
                  </a:lnTo>
                  <a:lnTo>
                    <a:pt x="39" y="487"/>
                  </a:lnTo>
                  <a:lnTo>
                    <a:pt x="25" y="457"/>
                  </a:lnTo>
                  <a:lnTo>
                    <a:pt x="14" y="428"/>
                  </a:lnTo>
                  <a:lnTo>
                    <a:pt x="9" y="411"/>
                  </a:lnTo>
                  <a:lnTo>
                    <a:pt x="6" y="395"/>
                  </a:lnTo>
                  <a:lnTo>
                    <a:pt x="4" y="379"/>
                  </a:lnTo>
                  <a:lnTo>
                    <a:pt x="1" y="363"/>
                  </a:lnTo>
                  <a:lnTo>
                    <a:pt x="0" y="347"/>
                  </a:lnTo>
                  <a:lnTo>
                    <a:pt x="0" y="329"/>
                  </a:lnTo>
                  <a:lnTo>
                    <a:pt x="0" y="329"/>
                  </a:lnTo>
                  <a:lnTo>
                    <a:pt x="0" y="312"/>
                  </a:lnTo>
                  <a:lnTo>
                    <a:pt x="1" y="296"/>
                  </a:lnTo>
                  <a:lnTo>
                    <a:pt x="4" y="280"/>
                  </a:lnTo>
                  <a:lnTo>
                    <a:pt x="6" y="264"/>
                  </a:lnTo>
                  <a:lnTo>
                    <a:pt x="9" y="248"/>
                  </a:lnTo>
                  <a:lnTo>
                    <a:pt x="14" y="231"/>
                  </a:lnTo>
                  <a:lnTo>
                    <a:pt x="25" y="202"/>
                  </a:lnTo>
                  <a:lnTo>
                    <a:pt x="39" y="172"/>
                  </a:lnTo>
                  <a:lnTo>
                    <a:pt x="56" y="145"/>
                  </a:lnTo>
                  <a:lnTo>
                    <a:pt x="75" y="120"/>
                  </a:lnTo>
                  <a:lnTo>
                    <a:pt x="96" y="97"/>
                  </a:lnTo>
                  <a:lnTo>
                    <a:pt x="119" y="76"/>
                  </a:lnTo>
                  <a:lnTo>
                    <a:pt x="145" y="57"/>
                  </a:lnTo>
                  <a:lnTo>
                    <a:pt x="172" y="41"/>
                  </a:lnTo>
                  <a:lnTo>
                    <a:pt x="200" y="27"/>
                  </a:lnTo>
                  <a:lnTo>
                    <a:pt x="231" y="15"/>
                  </a:lnTo>
                  <a:lnTo>
                    <a:pt x="245" y="11"/>
                  </a:lnTo>
                  <a:lnTo>
                    <a:pt x="262" y="7"/>
                  </a:lnTo>
                  <a:lnTo>
                    <a:pt x="278" y="4"/>
                  </a:lnTo>
                  <a:lnTo>
                    <a:pt x="295" y="3"/>
                  </a:lnTo>
                  <a:lnTo>
                    <a:pt x="311" y="2"/>
                  </a:lnTo>
                  <a:lnTo>
                    <a:pt x="329" y="0"/>
                  </a:lnTo>
                  <a:lnTo>
                    <a:pt x="329" y="0"/>
                  </a:lnTo>
                  <a:lnTo>
                    <a:pt x="345" y="2"/>
                  </a:lnTo>
                  <a:lnTo>
                    <a:pt x="362" y="3"/>
                  </a:lnTo>
                  <a:lnTo>
                    <a:pt x="378" y="4"/>
                  </a:lnTo>
                  <a:lnTo>
                    <a:pt x="395" y="7"/>
                  </a:lnTo>
                  <a:lnTo>
                    <a:pt x="411" y="11"/>
                  </a:lnTo>
                  <a:lnTo>
                    <a:pt x="425" y="15"/>
                  </a:lnTo>
                  <a:lnTo>
                    <a:pt x="456" y="27"/>
                  </a:lnTo>
                  <a:lnTo>
                    <a:pt x="485" y="41"/>
                  </a:lnTo>
                  <a:lnTo>
                    <a:pt x="511" y="57"/>
                  </a:lnTo>
                  <a:lnTo>
                    <a:pt x="537" y="76"/>
                  </a:lnTo>
                  <a:lnTo>
                    <a:pt x="561" y="97"/>
                  </a:lnTo>
                  <a:lnTo>
                    <a:pt x="581" y="120"/>
                  </a:lnTo>
                  <a:lnTo>
                    <a:pt x="600" y="145"/>
                  </a:lnTo>
                  <a:lnTo>
                    <a:pt x="618" y="172"/>
                  </a:lnTo>
                  <a:lnTo>
                    <a:pt x="631" y="202"/>
                  </a:lnTo>
                  <a:lnTo>
                    <a:pt x="642" y="231"/>
                  </a:lnTo>
                  <a:lnTo>
                    <a:pt x="647" y="248"/>
                  </a:lnTo>
                  <a:lnTo>
                    <a:pt x="650" y="264"/>
                  </a:lnTo>
                  <a:lnTo>
                    <a:pt x="652" y="280"/>
                  </a:lnTo>
                  <a:lnTo>
                    <a:pt x="655" y="296"/>
                  </a:lnTo>
                  <a:lnTo>
                    <a:pt x="656" y="312"/>
                  </a:lnTo>
                  <a:lnTo>
                    <a:pt x="656" y="329"/>
                  </a:lnTo>
                  <a:lnTo>
                    <a:pt x="656" y="329"/>
                  </a:lnTo>
                  <a:lnTo>
                    <a:pt x="656" y="347"/>
                  </a:lnTo>
                  <a:lnTo>
                    <a:pt x="655" y="363"/>
                  </a:lnTo>
                  <a:lnTo>
                    <a:pt x="652" y="379"/>
                  </a:lnTo>
                  <a:lnTo>
                    <a:pt x="650" y="395"/>
                  </a:lnTo>
                  <a:lnTo>
                    <a:pt x="647" y="411"/>
                  </a:lnTo>
                  <a:lnTo>
                    <a:pt x="642" y="428"/>
                  </a:lnTo>
                  <a:lnTo>
                    <a:pt x="631" y="457"/>
                  </a:lnTo>
                  <a:lnTo>
                    <a:pt x="618" y="487"/>
                  </a:lnTo>
                  <a:lnTo>
                    <a:pt x="600" y="514"/>
                  </a:lnTo>
                  <a:lnTo>
                    <a:pt x="581" y="539"/>
                  </a:lnTo>
                  <a:lnTo>
                    <a:pt x="561" y="562"/>
                  </a:lnTo>
                  <a:lnTo>
                    <a:pt x="537" y="583"/>
                  </a:lnTo>
                  <a:lnTo>
                    <a:pt x="511" y="602"/>
                  </a:lnTo>
                  <a:lnTo>
                    <a:pt x="485" y="618"/>
                  </a:lnTo>
                  <a:lnTo>
                    <a:pt x="456" y="633"/>
                  </a:lnTo>
                  <a:lnTo>
                    <a:pt x="425" y="644"/>
                  </a:lnTo>
                  <a:lnTo>
                    <a:pt x="411" y="648"/>
                  </a:lnTo>
                  <a:lnTo>
                    <a:pt x="395" y="652"/>
                  </a:lnTo>
                  <a:lnTo>
                    <a:pt x="378" y="655"/>
                  </a:lnTo>
                  <a:lnTo>
                    <a:pt x="362" y="657"/>
                  </a:lnTo>
                  <a:lnTo>
                    <a:pt x="345" y="657"/>
                  </a:lnTo>
                  <a:lnTo>
                    <a:pt x="329" y="659"/>
                  </a:lnTo>
                  <a:lnTo>
                    <a:pt x="329" y="659"/>
                  </a:lnTo>
                  <a:close/>
                  <a:moveTo>
                    <a:pt x="329" y="38"/>
                  </a:moveTo>
                  <a:lnTo>
                    <a:pt x="329" y="38"/>
                  </a:lnTo>
                  <a:lnTo>
                    <a:pt x="298" y="39"/>
                  </a:lnTo>
                  <a:lnTo>
                    <a:pt x="270" y="45"/>
                  </a:lnTo>
                  <a:lnTo>
                    <a:pt x="241" y="51"/>
                  </a:lnTo>
                  <a:lnTo>
                    <a:pt x="215" y="61"/>
                  </a:lnTo>
                  <a:lnTo>
                    <a:pt x="189" y="73"/>
                  </a:lnTo>
                  <a:lnTo>
                    <a:pt x="165" y="88"/>
                  </a:lnTo>
                  <a:lnTo>
                    <a:pt x="143" y="105"/>
                  </a:lnTo>
                  <a:lnTo>
                    <a:pt x="122" y="124"/>
                  </a:lnTo>
                  <a:lnTo>
                    <a:pt x="103" y="144"/>
                  </a:lnTo>
                  <a:lnTo>
                    <a:pt x="87" y="167"/>
                  </a:lnTo>
                  <a:lnTo>
                    <a:pt x="72" y="191"/>
                  </a:lnTo>
                  <a:lnTo>
                    <a:pt x="60" y="217"/>
                  </a:lnTo>
                  <a:lnTo>
                    <a:pt x="51" y="244"/>
                  </a:lnTo>
                  <a:lnTo>
                    <a:pt x="43" y="270"/>
                  </a:lnTo>
                  <a:lnTo>
                    <a:pt x="39" y="300"/>
                  </a:lnTo>
                  <a:lnTo>
                    <a:pt x="37" y="329"/>
                  </a:lnTo>
                  <a:lnTo>
                    <a:pt x="37" y="329"/>
                  </a:lnTo>
                  <a:lnTo>
                    <a:pt x="39" y="359"/>
                  </a:lnTo>
                  <a:lnTo>
                    <a:pt x="43" y="389"/>
                  </a:lnTo>
                  <a:lnTo>
                    <a:pt x="51" y="415"/>
                  </a:lnTo>
                  <a:lnTo>
                    <a:pt x="60" y="442"/>
                  </a:lnTo>
                  <a:lnTo>
                    <a:pt x="72" y="468"/>
                  </a:lnTo>
                  <a:lnTo>
                    <a:pt x="87" y="492"/>
                  </a:lnTo>
                  <a:lnTo>
                    <a:pt x="103" y="515"/>
                  </a:lnTo>
                  <a:lnTo>
                    <a:pt x="122" y="535"/>
                  </a:lnTo>
                  <a:lnTo>
                    <a:pt x="143" y="554"/>
                  </a:lnTo>
                  <a:lnTo>
                    <a:pt x="165" y="571"/>
                  </a:lnTo>
                  <a:lnTo>
                    <a:pt x="189" y="586"/>
                  </a:lnTo>
                  <a:lnTo>
                    <a:pt x="215" y="598"/>
                  </a:lnTo>
                  <a:lnTo>
                    <a:pt x="241" y="608"/>
                  </a:lnTo>
                  <a:lnTo>
                    <a:pt x="270" y="614"/>
                  </a:lnTo>
                  <a:lnTo>
                    <a:pt x="298" y="620"/>
                  </a:lnTo>
                  <a:lnTo>
                    <a:pt x="329" y="621"/>
                  </a:lnTo>
                  <a:lnTo>
                    <a:pt x="329" y="621"/>
                  </a:lnTo>
                  <a:lnTo>
                    <a:pt x="358" y="620"/>
                  </a:lnTo>
                  <a:lnTo>
                    <a:pt x="386" y="614"/>
                  </a:lnTo>
                  <a:lnTo>
                    <a:pt x="415" y="608"/>
                  </a:lnTo>
                  <a:lnTo>
                    <a:pt x="442" y="598"/>
                  </a:lnTo>
                  <a:lnTo>
                    <a:pt x="467" y="586"/>
                  </a:lnTo>
                  <a:lnTo>
                    <a:pt x="491" y="571"/>
                  </a:lnTo>
                  <a:lnTo>
                    <a:pt x="513" y="554"/>
                  </a:lnTo>
                  <a:lnTo>
                    <a:pt x="534" y="535"/>
                  </a:lnTo>
                  <a:lnTo>
                    <a:pt x="553" y="515"/>
                  </a:lnTo>
                  <a:lnTo>
                    <a:pt x="569" y="492"/>
                  </a:lnTo>
                  <a:lnTo>
                    <a:pt x="584" y="468"/>
                  </a:lnTo>
                  <a:lnTo>
                    <a:pt x="596" y="442"/>
                  </a:lnTo>
                  <a:lnTo>
                    <a:pt x="607" y="415"/>
                  </a:lnTo>
                  <a:lnTo>
                    <a:pt x="613" y="389"/>
                  </a:lnTo>
                  <a:lnTo>
                    <a:pt x="618" y="359"/>
                  </a:lnTo>
                  <a:lnTo>
                    <a:pt x="619" y="329"/>
                  </a:lnTo>
                  <a:lnTo>
                    <a:pt x="619" y="329"/>
                  </a:lnTo>
                  <a:lnTo>
                    <a:pt x="618" y="300"/>
                  </a:lnTo>
                  <a:lnTo>
                    <a:pt x="613" y="270"/>
                  </a:lnTo>
                  <a:lnTo>
                    <a:pt x="607" y="244"/>
                  </a:lnTo>
                  <a:lnTo>
                    <a:pt x="596" y="217"/>
                  </a:lnTo>
                  <a:lnTo>
                    <a:pt x="584" y="191"/>
                  </a:lnTo>
                  <a:lnTo>
                    <a:pt x="569" y="167"/>
                  </a:lnTo>
                  <a:lnTo>
                    <a:pt x="553" y="144"/>
                  </a:lnTo>
                  <a:lnTo>
                    <a:pt x="534" y="124"/>
                  </a:lnTo>
                  <a:lnTo>
                    <a:pt x="513" y="105"/>
                  </a:lnTo>
                  <a:lnTo>
                    <a:pt x="491" y="88"/>
                  </a:lnTo>
                  <a:lnTo>
                    <a:pt x="467" y="73"/>
                  </a:lnTo>
                  <a:lnTo>
                    <a:pt x="442" y="61"/>
                  </a:lnTo>
                  <a:lnTo>
                    <a:pt x="415" y="51"/>
                  </a:lnTo>
                  <a:lnTo>
                    <a:pt x="386" y="45"/>
                  </a:lnTo>
                  <a:lnTo>
                    <a:pt x="358"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ndParaRPr>
            </a:p>
          </p:txBody>
        </p:sp>
        <p:sp>
          <p:nvSpPr>
            <p:cNvPr id="16" name="Freeform 178">
              <a:extLst>
                <a:ext uri="{FF2B5EF4-FFF2-40B4-BE49-F238E27FC236}">
                  <a16:creationId xmlns:a16="http://schemas.microsoft.com/office/drawing/2014/main" id="{F42C3C2A-8F7C-4EE8-8A5E-9952A2B7E37E}"/>
                </a:ext>
              </a:extLst>
            </p:cNvPr>
            <p:cNvSpPr>
              <a:spLocks/>
            </p:cNvSpPr>
            <p:nvPr/>
          </p:nvSpPr>
          <p:spPr bwMode="auto">
            <a:xfrm>
              <a:off x="9493251" y="1127125"/>
              <a:ext cx="250825" cy="66675"/>
            </a:xfrm>
            <a:custGeom>
              <a:avLst/>
              <a:gdLst>
                <a:gd name="T0" fmla="*/ 314 w 315"/>
                <a:gd name="T1" fmla="*/ 62 h 84"/>
                <a:gd name="T2" fmla="*/ 288 w 315"/>
                <a:gd name="T3" fmla="*/ 3 h 84"/>
                <a:gd name="T4" fmla="*/ 288 w 315"/>
                <a:gd name="T5" fmla="*/ 3 h 84"/>
                <a:gd name="T6" fmla="*/ 286 w 315"/>
                <a:gd name="T7" fmla="*/ 0 h 84"/>
                <a:gd name="T8" fmla="*/ 283 w 315"/>
                <a:gd name="T9" fmla="*/ 0 h 84"/>
                <a:gd name="T10" fmla="*/ 32 w 315"/>
                <a:gd name="T11" fmla="*/ 0 h 84"/>
                <a:gd name="T12" fmla="*/ 32 w 315"/>
                <a:gd name="T13" fmla="*/ 0 h 84"/>
                <a:gd name="T14" fmla="*/ 29 w 315"/>
                <a:gd name="T15" fmla="*/ 0 h 84"/>
                <a:gd name="T16" fmla="*/ 26 w 315"/>
                <a:gd name="T17" fmla="*/ 3 h 84"/>
                <a:gd name="T18" fmla="*/ 1 w 315"/>
                <a:gd name="T19" fmla="*/ 62 h 84"/>
                <a:gd name="T20" fmla="*/ 1 w 315"/>
                <a:gd name="T21" fmla="*/ 62 h 84"/>
                <a:gd name="T22" fmla="*/ 0 w 315"/>
                <a:gd name="T23" fmla="*/ 66 h 84"/>
                <a:gd name="T24" fmla="*/ 0 w 315"/>
                <a:gd name="T25" fmla="*/ 70 h 84"/>
                <a:gd name="T26" fmla="*/ 1 w 315"/>
                <a:gd name="T27" fmla="*/ 74 h 84"/>
                <a:gd name="T28" fmla="*/ 2 w 315"/>
                <a:gd name="T29" fmla="*/ 77 h 84"/>
                <a:gd name="T30" fmla="*/ 2 w 315"/>
                <a:gd name="T31" fmla="*/ 77 h 84"/>
                <a:gd name="T32" fmla="*/ 5 w 315"/>
                <a:gd name="T33" fmla="*/ 79 h 84"/>
                <a:gd name="T34" fmla="*/ 8 w 315"/>
                <a:gd name="T35" fmla="*/ 82 h 84"/>
                <a:gd name="T36" fmla="*/ 12 w 315"/>
                <a:gd name="T37" fmla="*/ 84 h 84"/>
                <a:gd name="T38" fmla="*/ 16 w 315"/>
                <a:gd name="T39" fmla="*/ 84 h 84"/>
                <a:gd name="T40" fmla="*/ 299 w 315"/>
                <a:gd name="T41" fmla="*/ 84 h 84"/>
                <a:gd name="T42" fmla="*/ 299 w 315"/>
                <a:gd name="T43" fmla="*/ 84 h 84"/>
                <a:gd name="T44" fmla="*/ 303 w 315"/>
                <a:gd name="T45" fmla="*/ 84 h 84"/>
                <a:gd name="T46" fmla="*/ 307 w 315"/>
                <a:gd name="T47" fmla="*/ 82 h 84"/>
                <a:gd name="T48" fmla="*/ 310 w 315"/>
                <a:gd name="T49" fmla="*/ 79 h 84"/>
                <a:gd name="T50" fmla="*/ 313 w 315"/>
                <a:gd name="T51" fmla="*/ 77 h 84"/>
                <a:gd name="T52" fmla="*/ 313 w 315"/>
                <a:gd name="T53" fmla="*/ 77 h 84"/>
                <a:gd name="T54" fmla="*/ 314 w 315"/>
                <a:gd name="T55" fmla="*/ 74 h 84"/>
                <a:gd name="T56" fmla="*/ 315 w 315"/>
                <a:gd name="T57" fmla="*/ 70 h 84"/>
                <a:gd name="T58" fmla="*/ 315 w 315"/>
                <a:gd name="T59" fmla="*/ 66 h 84"/>
                <a:gd name="T60" fmla="*/ 314 w 315"/>
                <a:gd name="T61" fmla="*/ 62 h 84"/>
                <a:gd name="T62" fmla="*/ 314 w 315"/>
                <a:gd name="T63" fmla="*/ 6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5" h="84">
                  <a:moveTo>
                    <a:pt x="314" y="62"/>
                  </a:moveTo>
                  <a:lnTo>
                    <a:pt x="288" y="3"/>
                  </a:lnTo>
                  <a:lnTo>
                    <a:pt x="288" y="3"/>
                  </a:lnTo>
                  <a:lnTo>
                    <a:pt x="286" y="0"/>
                  </a:lnTo>
                  <a:lnTo>
                    <a:pt x="283" y="0"/>
                  </a:lnTo>
                  <a:lnTo>
                    <a:pt x="32" y="0"/>
                  </a:lnTo>
                  <a:lnTo>
                    <a:pt x="32" y="0"/>
                  </a:lnTo>
                  <a:lnTo>
                    <a:pt x="29" y="0"/>
                  </a:lnTo>
                  <a:lnTo>
                    <a:pt x="26" y="3"/>
                  </a:lnTo>
                  <a:lnTo>
                    <a:pt x="1" y="62"/>
                  </a:lnTo>
                  <a:lnTo>
                    <a:pt x="1" y="62"/>
                  </a:lnTo>
                  <a:lnTo>
                    <a:pt x="0" y="66"/>
                  </a:lnTo>
                  <a:lnTo>
                    <a:pt x="0" y="70"/>
                  </a:lnTo>
                  <a:lnTo>
                    <a:pt x="1" y="74"/>
                  </a:lnTo>
                  <a:lnTo>
                    <a:pt x="2" y="77"/>
                  </a:lnTo>
                  <a:lnTo>
                    <a:pt x="2" y="77"/>
                  </a:lnTo>
                  <a:lnTo>
                    <a:pt x="5" y="79"/>
                  </a:lnTo>
                  <a:lnTo>
                    <a:pt x="8" y="82"/>
                  </a:lnTo>
                  <a:lnTo>
                    <a:pt x="12" y="84"/>
                  </a:lnTo>
                  <a:lnTo>
                    <a:pt x="16" y="84"/>
                  </a:lnTo>
                  <a:lnTo>
                    <a:pt x="299" y="84"/>
                  </a:lnTo>
                  <a:lnTo>
                    <a:pt x="299" y="84"/>
                  </a:lnTo>
                  <a:lnTo>
                    <a:pt x="303" y="84"/>
                  </a:lnTo>
                  <a:lnTo>
                    <a:pt x="307" y="82"/>
                  </a:lnTo>
                  <a:lnTo>
                    <a:pt x="310" y="79"/>
                  </a:lnTo>
                  <a:lnTo>
                    <a:pt x="313" y="77"/>
                  </a:lnTo>
                  <a:lnTo>
                    <a:pt x="313" y="77"/>
                  </a:lnTo>
                  <a:lnTo>
                    <a:pt x="314" y="74"/>
                  </a:lnTo>
                  <a:lnTo>
                    <a:pt x="315" y="70"/>
                  </a:lnTo>
                  <a:lnTo>
                    <a:pt x="315" y="66"/>
                  </a:lnTo>
                  <a:lnTo>
                    <a:pt x="314" y="62"/>
                  </a:lnTo>
                  <a:lnTo>
                    <a:pt x="31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ndParaRPr>
            </a:p>
          </p:txBody>
        </p:sp>
        <p:sp>
          <p:nvSpPr>
            <p:cNvPr id="17" name="Freeform 179">
              <a:extLst>
                <a:ext uri="{FF2B5EF4-FFF2-40B4-BE49-F238E27FC236}">
                  <a16:creationId xmlns:a16="http://schemas.microsoft.com/office/drawing/2014/main" id="{7F7B449E-D613-4BBD-9E30-3F8F02259FBE}"/>
                </a:ext>
              </a:extLst>
            </p:cNvPr>
            <p:cNvSpPr>
              <a:spLocks noEditPoints="1"/>
            </p:cNvSpPr>
            <p:nvPr/>
          </p:nvSpPr>
          <p:spPr bwMode="auto">
            <a:xfrm>
              <a:off x="9515476" y="969963"/>
              <a:ext cx="207963" cy="149225"/>
            </a:xfrm>
            <a:custGeom>
              <a:avLst/>
              <a:gdLst>
                <a:gd name="T0" fmla="*/ 6 w 262"/>
                <a:gd name="T1" fmla="*/ 188 h 188"/>
                <a:gd name="T2" fmla="*/ 257 w 262"/>
                <a:gd name="T3" fmla="*/ 188 h 188"/>
                <a:gd name="T4" fmla="*/ 257 w 262"/>
                <a:gd name="T5" fmla="*/ 188 h 188"/>
                <a:gd name="T6" fmla="*/ 260 w 262"/>
                <a:gd name="T7" fmla="*/ 188 h 188"/>
                <a:gd name="T8" fmla="*/ 261 w 262"/>
                <a:gd name="T9" fmla="*/ 187 h 188"/>
                <a:gd name="T10" fmla="*/ 262 w 262"/>
                <a:gd name="T11" fmla="*/ 186 h 188"/>
                <a:gd name="T12" fmla="*/ 262 w 262"/>
                <a:gd name="T13" fmla="*/ 183 h 188"/>
                <a:gd name="T14" fmla="*/ 262 w 262"/>
                <a:gd name="T15" fmla="*/ 26 h 188"/>
                <a:gd name="T16" fmla="*/ 262 w 262"/>
                <a:gd name="T17" fmla="*/ 26 h 188"/>
                <a:gd name="T18" fmla="*/ 262 w 262"/>
                <a:gd name="T19" fmla="*/ 21 h 188"/>
                <a:gd name="T20" fmla="*/ 261 w 262"/>
                <a:gd name="T21" fmla="*/ 15 h 188"/>
                <a:gd name="T22" fmla="*/ 258 w 262"/>
                <a:gd name="T23" fmla="*/ 11 h 188"/>
                <a:gd name="T24" fmla="*/ 254 w 262"/>
                <a:gd name="T25" fmla="*/ 7 h 188"/>
                <a:gd name="T26" fmla="*/ 250 w 262"/>
                <a:gd name="T27" fmla="*/ 4 h 188"/>
                <a:gd name="T28" fmla="*/ 246 w 262"/>
                <a:gd name="T29" fmla="*/ 2 h 188"/>
                <a:gd name="T30" fmla="*/ 241 w 262"/>
                <a:gd name="T31" fmla="*/ 0 h 188"/>
                <a:gd name="T32" fmla="*/ 237 w 262"/>
                <a:gd name="T33" fmla="*/ 0 h 188"/>
                <a:gd name="T34" fmla="*/ 26 w 262"/>
                <a:gd name="T35" fmla="*/ 0 h 188"/>
                <a:gd name="T36" fmla="*/ 26 w 262"/>
                <a:gd name="T37" fmla="*/ 0 h 188"/>
                <a:gd name="T38" fmla="*/ 22 w 262"/>
                <a:gd name="T39" fmla="*/ 0 h 188"/>
                <a:gd name="T40" fmla="*/ 17 w 262"/>
                <a:gd name="T41" fmla="*/ 2 h 188"/>
                <a:gd name="T42" fmla="*/ 13 w 262"/>
                <a:gd name="T43" fmla="*/ 4 h 188"/>
                <a:gd name="T44" fmla="*/ 8 w 262"/>
                <a:gd name="T45" fmla="*/ 7 h 188"/>
                <a:gd name="T46" fmla="*/ 4 w 262"/>
                <a:gd name="T47" fmla="*/ 11 h 188"/>
                <a:gd name="T48" fmla="*/ 3 w 262"/>
                <a:gd name="T49" fmla="*/ 15 h 188"/>
                <a:gd name="T50" fmla="*/ 0 w 262"/>
                <a:gd name="T51" fmla="*/ 21 h 188"/>
                <a:gd name="T52" fmla="*/ 0 w 262"/>
                <a:gd name="T53" fmla="*/ 26 h 188"/>
                <a:gd name="T54" fmla="*/ 0 w 262"/>
                <a:gd name="T55" fmla="*/ 183 h 188"/>
                <a:gd name="T56" fmla="*/ 0 w 262"/>
                <a:gd name="T57" fmla="*/ 183 h 188"/>
                <a:gd name="T58" fmla="*/ 0 w 262"/>
                <a:gd name="T59" fmla="*/ 186 h 188"/>
                <a:gd name="T60" fmla="*/ 2 w 262"/>
                <a:gd name="T61" fmla="*/ 187 h 188"/>
                <a:gd name="T62" fmla="*/ 3 w 262"/>
                <a:gd name="T63" fmla="*/ 188 h 188"/>
                <a:gd name="T64" fmla="*/ 6 w 262"/>
                <a:gd name="T65" fmla="*/ 188 h 188"/>
                <a:gd name="T66" fmla="*/ 6 w 262"/>
                <a:gd name="T67" fmla="*/ 188 h 188"/>
                <a:gd name="T68" fmla="*/ 18 w 262"/>
                <a:gd name="T69" fmla="*/ 25 h 188"/>
                <a:gd name="T70" fmla="*/ 18 w 262"/>
                <a:gd name="T71" fmla="*/ 25 h 188"/>
                <a:gd name="T72" fmla="*/ 18 w 262"/>
                <a:gd name="T73" fmla="*/ 22 h 188"/>
                <a:gd name="T74" fmla="*/ 19 w 262"/>
                <a:gd name="T75" fmla="*/ 21 h 188"/>
                <a:gd name="T76" fmla="*/ 21 w 262"/>
                <a:gd name="T77" fmla="*/ 19 h 188"/>
                <a:gd name="T78" fmla="*/ 23 w 262"/>
                <a:gd name="T79" fmla="*/ 19 h 188"/>
                <a:gd name="T80" fmla="*/ 240 w 262"/>
                <a:gd name="T81" fmla="*/ 19 h 188"/>
                <a:gd name="T82" fmla="*/ 240 w 262"/>
                <a:gd name="T83" fmla="*/ 19 h 188"/>
                <a:gd name="T84" fmla="*/ 241 w 262"/>
                <a:gd name="T85" fmla="*/ 19 h 188"/>
                <a:gd name="T86" fmla="*/ 244 w 262"/>
                <a:gd name="T87" fmla="*/ 21 h 188"/>
                <a:gd name="T88" fmla="*/ 244 w 262"/>
                <a:gd name="T89" fmla="*/ 22 h 188"/>
                <a:gd name="T90" fmla="*/ 245 w 262"/>
                <a:gd name="T91" fmla="*/ 25 h 188"/>
                <a:gd name="T92" fmla="*/ 245 w 262"/>
                <a:gd name="T93" fmla="*/ 166 h 188"/>
                <a:gd name="T94" fmla="*/ 245 w 262"/>
                <a:gd name="T95" fmla="*/ 166 h 188"/>
                <a:gd name="T96" fmla="*/ 244 w 262"/>
                <a:gd name="T97" fmla="*/ 167 h 188"/>
                <a:gd name="T98" fmla="*/ 244 w 262"/>
                <a:gd name="T99" fmla="*/ 170 h 188"/>
                <a:gd name="T100" fmla="*/ 241 w 262"/>
                <a:gd name="T101" fmla="*/ 170 h 188"/>
                <a:gd name="T102" fmla="*/ 240 w 262"/>
                <a:gd name="T103" fmla="*/ 171 h 188"/>
                <a:gd name="T104" fmla="*/ 23 w 262"/>
                <a:gd name="T105" fmla="*/ 171 h 188"/>
                <a:gd name="T106" fmla="*/ 23 w 262"/>
                <a:gd name="T107" fmla="*/ 171 h 188"/>
                <a:gd name="T108" fmla="*/ 21 w 262"/>
                <a:gd name="T109" fmla="*/ 170 h 188"/>
                <a:gd name="T110" fmla="*/ 19 w 262"/>
                <a:gd name="T111" fmla="*/ 170 h 188"/>
                <a:gd name="T112" fmla="*/ 18 w 262"/>
                <a:gd name="T113" fmla="*/ 167 h 188"/>
                <a:gd name="T114" fmla="*/ 18 w 262"/>
                <a:gd name="T115" fmla="*/ 166 h 188"/>
                <a:gd name="T116" fmla="*/ 18 w 262"/>
                <a:gd name="T117" fmla="*/ 25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2" h="188">
                  <a:moveTo>
                    <a:pt x="6" y="188"/>
                  </a:moveTo>
                  <a:lnTo>
                    <a:pt x="257" y="188"/>
                  </a:lnTo>
                  <a:lnTo>
                    <a:pt x="257" y="188"/>
                  </a:lnTo>
                  <a:lnTo>
                    <a:pt x="260" y="188"/>
                  </a:lnTo>
                  <a:lnTo>
                    <a:pt x="261" y="187"/>
                  </a:lnTo>
                  <a:lnTo>
                    <a:pt x="262" y="186"/>
                  </a:lnTo>
                  <a:lnTo>
                    <a:pt x="262" y="183"/>
                  </a:lnTo>
                  <a:lnTo>
                    <a:pt x="262" y="26"/>
                  </a:lnTo>
                  <a:lnTo>
                    <a:pt x="262" y="26"/>
                  </a:lnTo>
                  <a:lnTo>
                    <a:pt x="262" y="21"/>
                  </a:lnTo>
                  <a:lnTo>
                    <a:pt x="261" y="15"/>
                  </a:lnTo>
                  <a:lnTo>
                    <a:pt x="258" y="11"/>
                  </a:lnTo>
                  <a:lnTo>
                    <a:pt x="254" y="7"/>
                  </a:lnTo>
                  <a:lnTo>
                    <a:pt x="250" y="4"/>
                  </a:lnTo>
                  <a:lnTo>
                    <a:pt x="246" y="2"/>
                  </a:lnTo>
                  <a:lnTo>
                    <a:pt x="241" y="0"/>
                  </a:lnTo>
                  <a:lnTo>
                    <a:pt x="237" y="0"/>
                  </a:lnTo>
                  <a:lnTo>
                    <a:pt x="26" y="0"/>
                  </a:lnTo>
                  <a:lnTo>
                    <a:pt x="26" y="0"/>
                  </a:lnTo>
                  <a:lnTo>
                    <a:pt x="22" y="0"/>
                  </a:lnTo>
                  <a:lnTo>
                    <a:pt x="17" y="2"/>
                  </a:lnTo>
                  <a:lnTo>
                    <a:pt x="13" y="4"/>
                  </a:lnTo>
                  <a:lnTo>
                    <a:pt x="8" y="7"/>
                  </a:lnTo>
                  <a:lnTo>
                    <a:pt x="4" y="11"/>
                  </a:lnTo>
                  <a:lnTo>
                    <a:pt x="3" y="15"/>
                  </a:lnTo>
                  <a:lnTo>
                    <a:pt x="0" y="21"/>
                  </a:lnTo>
                  <a:lnTo>
                    <a:pt x="0" y="26"/>
                  </a:lnTo>
                  <a:lnTo>
                    <a:pt x="0" y="183"/>
                  </a:lnTo>
                  <a:lnTo>
                    <a:pt x="0" y="183"/>
                  </a:lnTo>
                  <a:lnTo>
                    <a:pt x="0" y="186"/>
                  </a:lnTo>
                  <a:lnTo>
                    <a:pt x="2" y="187"/>
                  </a:lnTo>
                  <a:lnTo>
                    <a:pt x="3" y="188"/>
                  </a:lnTo>
                  <a:lnTo>
                    <a:pt x="6" y="188"/>
                  </a:lnTo>
                  <a:lnTo>
                    <a:pt x="6" y="188"/>
                  </a:lnTo>
                  <a:close/>
                  <a:moveTo>
                    <a:pt x="18" y="25"/>
                  </a:moveTo>
                  <a:lnTo>
                    <a:pt x="18" y="25"/>
                  </a:lnTo>
                  <a:lnTo>
                    <a:pt x="18" y="22"/>
                  </a:lnTo>
                  <a:lnTo>
                    <a:pt x="19" y="21"/>
                  </a:lnTo>
                  <a:lnTo>
                    <a:pt x="21" y="19"/>
                  </a:lnTo>
                  <a:lnTo>
                    <a:pt x="23" y="19"/>
                  </a:lnTo>
                  <a:lnTo>
                    <a:pt x="240" y="19"/>
                  </a:lnTo>
                  <a:lnTo>
                    <a:pt x="240" y="19"/>
                  </a:lnTo>
                  <a:lnTo>
                    <a:pt x="241" y="19"/>
                  </a:lnTo>
                  <a:lnTo>
                    <a:pt x="244" y="21"/>
                  </a:lnTo>
                  <a:lnTo>
                    <a:pt x="244" y="22"/>
                  </a:lnTo>
                  <a:lnTo>
                    <a:pt x="245" y="25"/>
                  </a:lnTo>
                  <a:lnTo>
                    <a:pt x="245" y="166"/>
                  </a:lnTo>
                  <a:lnTo>
                    <a:pt x="245" y="166"/>
                  </a:lnTo>
                  <a:lnTo>
                    <a:pt x="244" y="167"/>
                  </a:lnTo>
                  <a:lnTo>
                    <a:pt x="244" y="170"/>
                  </a:lnTo>
                  <a:lnTo>
                    <a:pt x="241" y="170"/>
                  </a:lnTo>
                  <a:lnTo>
                    <a:pt x="240" y="171"/>
                  </a:lnTo>
                  <a:lnTo>
                    <a:pt x="23" y="171"/>
                  </a:lnTo>
                  <a:lnTo>
                    <a:pt x="23" y="171"/>
                  </a:lnTo>
                  <a:lnTo>
                    <a:pt x="21" y="170"/>
                  </a:lnTo>
                  <a:lnTo>
                    <a:pt x="19" y="170"/>
                  </a:lnTo>
                  <a:lnTo>
                    <a:pt x="18" y="167"/>
                  </a:lnTo>
                  <a:lnTo>
                    <a:pt x="18" y="166"/>
                  </a:lnTo>
                  <a:lnTo>
                    <a:pt x="18"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ndParaRPr>
            </a:p>
          </p:txBody>
        </p:sp>
      </p:grpSp>
      <p:sp>
        <p:nvSpPr>
          <p:cNvPr id="18" name="Rectangle 17">
            <a:extLst>
              <a:ext uri="{FF2B5EF4-FFF2-40B4-BE49-F238E27FC236}">
                <a16:creationId xmlns:a16="http://schemas.microsoft.com/office/drawing/2014/main" id="{8D520633-EFB6-4394-935A-1A4BE75D1767}"/>
              </a:ext>
            </a:extLst>
          </p:cNvPr>
          <p:cNvSpPr/>
          <p:nvPr/>
        </p:nvSpPr>
        <p:spPr>
          <a:xfrm>
            <a:off x="6095998" y="1006867"/>
            <a:ext cx="5822024" cy="5419864"/>
          </a:xfrm>
          <a:prstGeom prst="rect">
            <a:avLst/>
          </a:prstGeom>
          <a:noFill/>
          <a:ln w="19050" cap="flat" cmpd="sng" algn="ctr">
            <a:solidFill>
              <a:srgbClr val="34F0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3" name="Rectangle 2">
            <a:extLst>
              <a:ext uri="{FF2B5EF4-FFF2-40B4-BE49-F238E27FC236}">
                <a16:creationId xmlns:a16="http://schemas.microsoft.com/office/drawing/2014/main" id="{CCFF9A8D-EF82-41E1-9191-85E49164FBE2}"/>
              </a:ext>
            </a:extLst>
          </p:cNvPr>
          <p:cNvSpPr/>
          <p:nvPr/>
        </p:nvSpPr>
        <p:spPr>
          <a:xfrm>
            <a:off x="6096000" y="1179034"/>
            <a:ext cx="6096000" cy="5616922"/>
          </a:xfrm>
          <a:prstGeom prst="rect">
            <a:avLst/>
          </a:prstGeom>
        </p:spPr>
        <p:txBody>
          <a:bodyPr>
            <a:spAutoFit/>
          </a:bodyPr>
          <a:lstStyle/>
          <a:p>
            <a:pPr marL="342900" lvl="0" indent="-342900">
              <a:buFont typeface="Arial" panose="020B0604020202020204" pitchFamily="34" charset="0"/>
              <a:buChar char="•"/>
            </a:pPr>
            <a:r>
              <a:rPr lang="en-US" sz="900" dirty="0">
                <a:latin typeface="Open Sans"/>
                <a:cs typeface="Times New Roman" panose="02020603050405020304" pitchFamily="18" charset="0"/>
                <a:hlinkClick r:id="rId4">
                  <a:extLst>
                    <a:ext uri="{A12FA001-AC4F-418D-AE19-62706E023703}">
                      <ahyp:hlinkClr xmlns:ahyp="http://schemas.microsoft.com/office/drawing/2018/hyperlinkcolor" val="tx"/>
                    </a:ext>
                  </a:extLst>
                </a:hlinkClick>
              </a:rPr>
              <a:t>https://share.vidyard.com/watch/rX1zKHzyWDwrX35PMGHVrH</a:t>
            </a:r>
            <a:r>
              <a:rPr lang="en-US" sz="900" dirty="0">
                <a:latin typeface="Open Sans"/>
                <a:cs typeface="Times New Roman" panose="02020603050405020304" pitchFamily="18" charset="0"/>
              </a:rPr>
              <a:t>?</a:t>
            </a:r>
          </a:p>
          <a:p>
            <a:pPr marL="342900" lvl="0" indent="-342900">
              <a:buFont typeface="Arial" panose="020B0604020202020204" pitchFamily="34" charset="0"/>
              <a:buChar char="•"/>
            </a:pPr>
            <a:r>
              <a:rPr lang="en-US" sz="900" dirty="0">
                <a:latin typeface="Open Sans"/>
                <a:cs typeface="Times New Roman" panose="02020603050405020304" pitchFamily="18" charset="0"/>
                <a:hlinkClick r:id="rId5">
                  <a:extLst>
                    <a:ext uri="{A12FA001-AC4F-418D-AE19-62706E023703}">
                      <ahyp:hlinkClr xmlns:ahyp="http://schemas.microsoft.com/office/drawing/2018/hyperlinkcolor" val="tx"/>
                    </a:ext>
                  </a:extLst>
                </a:hlinkClick>
              </a:rPr>
              <a:t>https://doc.evergage.com/display/EKB/Manage+Users</a:t>
            </a:r>
            <a:endParaRPr lang="en-US" sz="900" dirty="0">
              <a:latin typeface="Open Sans"/>
              <a:cs typeface="Times New Roman" panose="02020603050405020304" pitchFamily="18" charset="0"/>
            </a:endParaRPr>
          </a:p>
          <a:p>
            <a:pPr marL="342900" lvl="0" indent="-342900">
              <a:buFont typeface="Arial" panose="020B0604020202020204" pitchFamily="34" charset="0"/>
              <a:buChar char="•"/>
            </a:pPr>
            <a:r>
              <a:rPr lang="en-US" sz="900" dirty="0">
                <a:latin typeface="Open Sans"/>
                <a:cs typeface="Times New Roman" panose="02020603050405020304" pitchFamily="18" charset="0"/>
                <a:hlinkClick r:id="rId6">
                  <a:extLst>
                    <a:ext uri="{A12FA001-AC4F-418D-AE19-62706E023703}">
                      <ahyp:hlinkClr xmlns:ahyp="http://schemas.microsoft.com/office/drawing/2018/hyperlinkcolor" val="tx"/>
                    </a:ext>
                  </a:extLst>
                </a:hlinkClick>
              </a:rPr>
              <a:t>https://doc.evergage.com/display/EKB/Add%2C+Edit%2C+and+Delete+Users+and+Roles</a:t>
            </a:r>
            <a:endParaRPr lang="en-US" sz="900" dirty="0">
              <a:latin typeface="Open Sans"/>
              <a:cs typeface="Times New Roman" panose="02020603050405020304" pitchFamily="18" charset="0"/>
            </a:endParaRPr>
          </a:p>
          <a:p>
            <a:pPr marL="342900" indent="-342900">
              <a:buFont typeface="Arial" panose="020B0604020202020204" pitchFamily="34" charset="0"/>
              <a:buChar char="•"/>
            </a:pPr>
            <a:r>
              <a:rPr lang="en-US" sz="900" dirty="0">
                <a:cs typeface="Times New Roman" panose="02020603050405020304" pitchFamily="18" charset="0"/>
              </a:rPr>
              <a:t>https://share.vidyard.com/watch/k7Qg6uLPeUppG7antU8D6B?</a:t>
            </a:r>
          </a:p>
          <a:p>
            <a:pPr marL="342900" indent="-342900">
              <a:buFont typeface="Arial" panose="020B0604020202020204" pitchFamily="34" charset="0"/>
              <a:buChar char="•"/>
            </a:pPr>
            <a:r>
              <a:rPr lang="en-US" sz="900" dirty="0">
                <a:cs typeface="Times New Roman" panose="02020603050405020304" pitchFamily="18" charset="0"/>
              </a:rPr>
              <a:t>https://share.vidyard.com/watch/TmCrgVPsCNRULBm3cqF9tx?</a:t>
            </a:r>
          </a:p>
          <a:p>
            <a:pPr marL="285750" lvl="0" indent="-285750">
              <a:buFont typeface="Arial" panose="020B0604020202020204" pitchFamily="34" charset="0"/>
              <a:buChar char="•"/>
            </a:pPr>
            <a:r>
              <a:rPr lang="en-US" sz="900" dirty="0">
                <a:latin typeface="Open Sans"/>
                <a:hlinkClick r:id="rId7">
                  <a:extLst>
                    <a:ext uri="{A12FA001-AC4F-418D-AE19-62706E023703}">
                      <ahyp:hlinkClr xmlns:ahyp="http://schemas.microsoft.com/office/drawing/2018/hyperlinkcolor" val="tx"/>
                    </a:ext>
                  </a:extLst>
                </a:hlinkClick>
              </a:rPr>
              <a:t>https://share.vidyard.com/watch/tCuW4tRaTvjM4xkuXiRVdr</a:t>
            </a:r>
            <a:r>
              <a:rPr lang="en-US" sz="900" dirty="0">
                <a:latin typeface="Open Sans"/>
              </a:rPr>
              <a:t>?</a:t>
            </a:r>
          </a:p>
          <a:p>
            <a:pPr marL="285750" lvl="0" indent="-285750">
              <a:buFont typeface="Arial" panose="020B0604020202020204" pitchFamily="34" charset="0"/>
              <a:buChar char="•"/>
            </a:pPr>
            <a:r>
              <a:rPr lang="en-US" sz="900" dirty="0">
                <a:latin typeface="Open Sans"/>
                <a:hlinkClick r:id="rId8">
                  <a:extLst>
                    <a:ext uri="{A12FA001-AC4F-418D-AE19-62706E023703}">
                      <ahyp:hlinkClr xmlns:ahyp="http://schemas.microsoft.com/office/drawing/2018/hyperlinkcolor" val="tx"/>
                    </a:ext>
                  </a:extLst>
                </a:hlinkClick>
              </a:rPr>
              <a:t>https://quip.com/jPHPAuwmnKGa/Interaction-Studio-Web-SDK-Beacon-Deployment-Options</a:t>
            </a:r>
            <a:endParaRPr lang="en-US" sz="900" dirty="0">
              <a:latin typeface="Open Sans"/>
            </a:endParaRPr>
          </a:p>
          <a:p>
            <a:pPr marL="285750" indent="-285750">
              <a:buFont typeface="Arial" panose="020B0604020202020204" pitchFamily="34" charset="0"/>
              <a:buChar char="•"/>
            </a:pPr>
            <a:r>
              <a:rPr lang="en-US" sz="900" dirty="0">
                <a:hlinkClick r:id="rId9">
                  <a:extLst>
                    <a:ext uri="{A12FA001-AC4F-418D-AE19-62706E023703}">
                      <ahyp:hlinkClr xmlns:ahyp="http://schemas.microsoft.com/office/drawing/2018/hyperlinkcolor" val="tx"/>
                    </a:ext>
                  </a:extLst>
                </a:hlinkClick>
              </a:rPr>
              <a:t>https://share.vidyard.com/watch/3FLuYbbWLmMnYAC86Vufbv</a:t>
            </a:r>
            <a:r>
              <a:rPr lang="en-US" sz="900" dirty="0"/>
              <a:t>?</a:t>
            </a:r>
          </a:p>
          <a:p>
            <a:pPr marL="285750" indent="-285750">
              <a:buFont typeface="Arial" panose="020B0604020202020204" pitchFamily="34" charset="0"/>
              <a:buChar char="•"/>
            </a:pPr>
            <a:r>
              <a:rPr lang="en-US" sz="900" dirty="0">
                <a:hlinkClick r:id="rId10">
                  <a:extLst>
                    <a:ext uri="{A12FA001-AC4F-418D-AE19-62706E023703}">
                      <ahyp:hlinkClr xmlns:ahyp="http://schemas.microsoft.com/office/drawing/2018/hyperlinkcolor" val="tx"/>
                    </a:ext>
                  </a:extLst>
                </a:hlinkClick>
              </a:rPr>
              <a:t>https://share.vidyard.com/watch/12hM7chXdumN6BRkkK13bx</a:t>
            </a:r>
            <a:r>
              <a:rPr lang="en-US" sz="900" dirty="0"/>
              <a:t>?</a:t>
            </a:r>
          </a:p>
          <a:p>
            <a:pPr marL="285750" indent="-285750">
              <a:buFont typeface="Arial" panose="020B0604020202020204" pitchFamily="34" charset="0"/>
              <a:buChar char="•"/>
            </a:pPr>
            <a:r>
              <a:rPr lang="en-US" sz="900" dirty="0">
                <a:hlinkClick r:id="rId11">
                  <a:extLst>
                    <a:ext uri="{A12FA001-AC4F-418D-AE19-62706E023703}">
                      <ahyp:hlinkClr xmlns:ahyp="http://schemas.microsoft.com/office/drawing/2018/hyperlinkcolor" val="tx"/>
                    </a:ext>
                  </a:extLst>
                </a:hlinkClick>
              </a:rPr>
              <a:t>https://quip.com/IblfAoIPCURi/TEMPLATE-Site-Mapping-Blueprint-eCommerce-Example</a:t>
            </a:r>
            <a:endParaRPr lang="en-US" sz="900" dirty="0"/>
          </a:p>
          <a:p>
            <a:pPr marL="285750" indent="-285750">
              <a:buFont typeface="Arial" panose="020B0604020202020204" pitchFamily="34" charset="0"/>
              <a:buChar char="•"/>
            </a:pPr>
            <a:r>
              <a:rPr lang="en-US" sz="900" dirty="0">
                <a:hlinkClick r:id="rId12">
                  <a:extLst>
                    <a:ext uri="{A12FA001-AC4F-418D-AE19-62706E023703}">
                      <ahyp:hlinkClr xmlns:ahyp="http://schemas.microsoft.com/office/drawing/2018/hyperlinkcolor" val="tx"/>
                    </a:ext>
                  </a:extLst>
                </a:hlinkClick>
              </a:rPr>
              <a:t>https://quip.com/4DJwAxzuDKbR/Sitemap-QA-Checklist-and-Best-Practices</a:t>
            </a:r>
            <a:endParaRPr lang="en-US" sz="900" dirty="0"/>
          </a:p>
          <a:p>
            <a:pPr marL="285750" indent="-285750">
              <a:buFont typeface="Arial" panose="020B0604020202020204" pitchFamily="34" charset="0"/>
              <a:buChar char="•"/>
            </a:pPr>
            <a:r>
              <a:rPr lang="en-US" sz="900" dirty="0">
                <a:hlinkClick r:id="rId13">
                  <a:extLst>
                    <a:ext uri="{A12FA001-AC4F-418D-AE19-62706E023703}">
                      <ahyp:hlinkClr xmlns:ahyp="http://schemas.microsoft.com/office/drawing/2018/hyperlinkcolor" val="tx"/>
                    </a:ext>
                  </a:extLst>
                </a:hlinkClick>
              </a:rPr>
              <a:t>https://developer.evergage.com/web-integration/sitemap/examples</a:t>
            </a:r>
            <a:endParaRPr lang="en-US" sz="900" dirty="0"/>
          </a:p>
          <a:p>
            <a:pPr marL="342900" indent="-342900">
              <a:buFont typeface="Arial" panose="020B0604020202020204" pitchFamily="34" charset="0"/>
              <a:buChar char="•"/>
            </a:pPr>
            <a:r>
              <a:rPr lang="en-US" sz="900" dirty="0">
                <a:cs typeface="Times New Roman" panose="02020603050405020304" pitchFamily="18" charset="0"/>
              </a:rPr>
              <a:t>https://share.vidyard.com/watch/Zck6s8NgRmMJzKm8mWFsNv?</a:t>
            </a:r>
          </a:p>
          <a:p>
            <a:pPr marL="342900" indent="-342900">
              <a:buFont typeface="Arial" panose="020B0604020202020204" pitchFamily="34" charset="0"/>
              <a:buChar char="•"/>
            </a:pPr>
            <a:r>
              <a:rPr lang="en-US" sz="900" dirty="0">
                <a:cs typeface="Times New Roman" panose="02020603050405020304" pitchFamily="18" charset="0"/>
                <a:hlinkClick r:id="rId14">
                  <a:extLst>
                    <a:ext uri="{A12FA001-AC4F-418D-AE19-62706E023703}">
                      <ahyp:hlinkClr xmlns:ahyp="http://schemas.microsoft.com/office/drawing/2018/hyperlinkcolor" val="tx"/>
                    </a:ext>
                  </a:extLst>
                </a:hlinkClick>
              </a:rPr>
              <a:t>https://share.vidyard.com/watch/ZdoxYdbFe7mTy3d4K5qF28</a:t>
            </a:r>
            <a:r>
              <a:rPr lang="en-US" sz="900" dirty="0">
                <a:cs typeface="Times New Roman" panose="02020603050405020304" pitchFamily="18" charset="0"/>
              </a:rPr>
              <a:t>?</a:t>
            </a:r>
          </a:p>
          <a:p>
            <a:pPr marL="342900" indent="-342900">
              <a:buFont typeface="Arial" panose="020B0604020202020204" pitchFamily="34" charset="0"/>
              <a:buChar char="•"/>
            </a:pPr>
            <a:r>
              <a:rPr lang="en-US" sz="900" dirty="0">
                <a:cs typeface="Times New Roman" panose="02020603050405020304" pitchFamily="18" charset="0"/>
              </a:rPr>
              <a:t>https://share.vidyard.com/watch/da8ueaBgMWs9jFnEa4VJaU?</a:t>
            </a:r>
          </a:p>
          <a:p>
            <a:pPr marL="342900" indent="-342900">
              <a:buFont typeface="Arial" panose="020B0604020202020204" pitchFamily="34" charset="0"/>
              <a:buChar char="•"/>
            </a:pPr>
            <a:r>
              <a:rPr lang="en-US" sz="900" dirty="0">
                <a:cs typeface="Times New Roman" panose="02020603050405020304" pitchFamily="18" charset="0"/>
                <a:hlinkClick r:id="rId15">
                  <a:extLst>
                    <a:ext uri="{A12FA001-AC4F-418D-AE19-62706E023703}">
                      <ahyp:hlinkClr xmlns:ahyp="http://schemas.microsoft.com/office/drawing/2018/hyperlinkcolor" val="tx"/>
                    </a:ext>
                  </a:extLst>
                </a:hlinkClick>
              </a:rPr>
              <a:t>https://doc.evergage.com/display/EKB/Identity+Management</a:t>
            </a:r>
            <a:endParaRPr lang="en-US" sz="900" dirty="0">
              <a:cs typeface="Times New Roman" panose="02020603050405020304" pitchFamily="18" charset="0"/>
            </a:endParaRPr>
          </a:p>
          <a:p>
            <a:pPr marL="342900" indent="-342900">
              <a:buFont typeface="Arial" panose="020B0604020202020204" pitchFamily="34" charset="0"/>
              <a:buChar char="•"/>
            </a:pPr>
            <a:r>
              <a:rPr lang="en-US" sz="900" dirty="0">
                <a:cs typeface="Times New Roman" panose="02020603050405020304" pitchFamily="18" charset="0"/>
              </a:rPr>
              <a:t>https://doc.evergage.com/display/EKB/Unified+Customer+Profile</a:t>
            </a:r>
          </a:p>
          <a:p>
            <a:pPr marL="342900" indent="-342900">
              <a:buFont typeface="Arial" panose="020B0604020202020204" pitchFamily="34" charset="0"/>
              <a:buChar char="•"/>
            </a:pPr>
            <a:r>
              <a:rPr lang="en-US" sz="900" dirty="0">
                <a:latin typeface="Calibri" panose="020F0502020204030204" pitchFamily="34" charset="0"/>
                <a:cs typeface="Times New Roman" panose="02020603050405020304" pitchFamily="18" charset="0"/>
                <a:hlinkClick r:id="rId16">
                  <a:extLst>
                    <a:ext uri="{A12FA001-AC4F-418D-AE19-62706E023703}">
                      <ahyp:hlinkClr xmlns:ahyp="http://schemas.microsoft.com/office/drawing/2018/hyperlinkcolor" val="tx"/>
                    </a:ext>
                  </a:extLst>
                </a:hlinkClick>
              </a:rPr>
              <a:t>https://share.vidyard.com/watch/YGhsnAekiW2XDtAfFSqMZh</a:t>
            </a:r>
            <a:r>
              <a:rPr lang="en-US" sz="900" dirty="0">
                <a:latin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900" dirty="0">
                <a:latin typeface="Calibri" panose="020F0502020204030204" pitchFamily="34" charset="0"/>
                <a:cs typeface="Times New Roman" panose="02020603050405020304" pitchFamily="18" charset="0"/>
                <a:hlinkClick r:id="rId17">
                  <a:extLst>
                    <a:ext uri="{A12FA001-AC4F-418D-AE19-62706E023703}">
                      <ahyp:hlinkClr xmlns:ahyp="http://schemas.microsoft.com/office/drawing/2018/hyperlinkcolor" val="tx"/>
                    </a:ext>
                  </a:extLst>
                </a:hlinkClick>
              </a:rPr>
              <a:t>https://share.vidyard.com/watch/T3M8oLRXNkuti57JZwu4J3</a:t>
            </a:r>
            <a:r>
              <a:rPr lang="en-US" sz="900" dirty="0">
                <a:latin typeface="Calibri" panose="020F0502020204030204" pitchFamily="34" charset="0"/>
                <a:cs typeface="Times New Roman" panose="02020603050405020304" pitchFamily="18" charset="0"/>
              </a:rPr>
              <a:t>?</a:t>
            </a:r>
          </a:p>
          <a:p>
            <a:pPr marL="342900" indent="-342900">
              <a:buFont typeface="Arial" panose="020B0604020202020204" pitchFamily="34" charset="0"/>
              <a:buChar char="•"/>
            </a:pPr>
            <a:r>
              <a:rPr lang="en-US" sz="900" dirty="0">
                <a:latin typeface="Calibri" panose="020F0502020204030204" pitchFamily="34" charset="0"/>
                <a:cs typeface="Times New Roman" panose="02020603050405020304" pitchFamily="18" charset="0"/>
              </a:rPr>
              <a:t>https://doc.evergage.com/display/EKB/ETL+Overview</a:t>
            </a:r>
          </a:p>
          <a:p>
            <a:pPr marL="342900" indent="-342900">
              <a:buFont typeface="Arial" panose="020B0604020202020204" pitchFamily="34" charset="0"/>
              <a:buChar char="•"/>
            </a:pPr>
            <a:r>
              <a:rPr lang="en-US" sz="900" dirty="0">
                <a:hlinkClick r:id="rId18">
                  <a:extLst>
                    <a:ext uri="{A12FA001-AC4F-418D-AE19-62706E023703}">
                      <ahyp:hlinkClr xmlns:ahyp="http://schemas.microsoft.com/office/drawing/2018/hyperlinkcolor" val="tx"/>
                    </a:ext>
                  </a:extLst>
                </a:hlinkClick>
              </a:rPr>
              <a:t>https://share.vidyard.com/watch/zg6fbduR1KByFuivQTMoeA</a:t>
            </a:r>
            <a:r>
              <a:rPr lang="en-US" sz="900" dirty="0"/>
              <a:t>?</a:t>
            </a:r>
          </a:p>
          <a:p>
            <a:pPr marL="342900" indent="-342900">
              <a:buFont typeface="Arial" panose="020B0604020202020204" pitchFamily="34" charset="0"/>
              <a:buChar char="•"/>
            </a:pPr>
            <a:r>
              <a:rPr lang="en-US" sz="900" dirty="0">
                <a:hlinkClick r:id="rId19">
                  <a:extLst>
                    <a:ext uri="{A12FA001-AC4F-418D-AE19-62706E023703}">
                      <ahyp:hlinkClr xmlns:ahyp="http://schemas.microsoft.com/office/drawing/2018/hyperlinkcolor" val="tx"/>
                    </a:ext>
                  </a:extLst>
                </a:hlinkClick>
              </a:rPr>
              <a:t>https://doc.evergage.com/display/EKB/Send+a+User+to+Journey+Builder+Upon+Segment+Join</a:t>
            </a:r>
            <a:endParaRPr lang="en-US" sz="900" dirty="0"/>
          </a:p>
          <a:p>
            <a:pPr marL="342900" indent="-342900">
              <a:buFont typeface="Arial" panose="020B0604020202020204" pitchFamily="34" charset="0"/>
              <a:buChar char="•"/>
            </a:pPr>
            <a:r>
              <a:rPr lang="en-US" sz="900" dirty="0">
                <a:hlinkClick r:id="rId20">
                  <a:extLst>
                    <a:ext uri="{A12FA001-AC4F-418D-AE19-62706E023703}">
                      <ahyp:hlinkClr xmlns:ahyp="http://schemas.microsoft.com/office/drawing/2018/hyperlinkcolor" val="tx"/>
                    </a:ext>
                  </a:extLst>
                </a:hlinkClick>
              </a:rPr>
              <a:t>https://doc.evergage.com/display/EKB/Understand+Salesforce+and+Interaction+Studio+Integrations</a:t>
            </a:r>
            <a:endParaRPr lang="en-US" sz="900" dirty="0"/>
          </a:p>
          <a:p>
            <a:pPr marL="342900" indent="-342900">
              <a:buFont typeface="Arial" panose="020B0604020202020204" pitchFamily="34" charset="0"/>
              <a:buChar char="•"/>
            </a:pPr>
            <a:r>
              <a:rPr lang="en-US" sz="900" dirty="0">
                <a:hlinkClick r:id="rId21">
                  <a:extLst>
                    <a:ext uri="{A12FA001-AC4F-418D-AE19-62706E023703}">
                      <ahyp:hlinkClr xmlns:ahyp="http://schemas.microsoft.com/office/drawing/2018/hyperlinkcolor" val="tx"/>
                    </a:ext>
                  </a:extLst>
                </a:hlinkClick>
              </a:rPr>
              <a:t>https://share.vidyard.com/watch/Tjj6MzjXMweiFXCvJcyyg3</a:t>
            </a:r>
            <a:r>
              <a:rPr lang="en-US" sz="900" dirty="0"/>
              <a:t>?</a:t>
            </a:r>
          </a:p>
          <a:p>
            <a:pPr marL="342900" indent="-342900">
              <a:buFont typeface="Arial" panose="020B0604020202020204" pitchFamily="34" charset="0"/>
              <a:buChar char="•"/>
            </a:pPr>
            <a:r>
              <a:rPr lang="en-US" sz="900" dirty="0">
                <a:cs typeface="Times New Roman" panose="02020603050405020304" pitchFamily="18" charset="0"/>
                <a:hlinkClick r:id="rId22">
                  <a:extLst>
                    <a:ext uri="{A12FA001-AC4F-418D-AE19-62706E023703}">
                      <ahyp:hlinkClr xmlns:ahyp="http://schemas.microsoft.com/office/drawing/2018/hyperlinkcolor" val="tx"/>
                    </a:ext>
                  </a:extLst>
                </a:hlinkClick>
              </a:rPr>
              <a:t>https://share.vidyard.com/watch/t5VivKndxQJsBTzngVaCEZ</a:t>
            </a:r>
            <a:r>
              <a:rPr lang="en-US" sz="900" dirty="0">
                <a:cs typeface="Times New Roman" panose="02020603050405020304" pitchFamily="18" charset="0"/>
              </a:rPr>
              <a:t>?</a:t>
            </a:r>
          </a:p>
          <a:p>
            <a:pPr marL="342900" indent="-342900">
              <a:buFont typeface="Arial" panose="020B0604020202020204" pitchFamily="34" charset="0"/>
              <a:buChar char="•"/>
            </a:pPr>
            <a:r>
              <a:rPr lang="en-US" sz="900" dirty="0">
                <a:cs typeface="Times New Roman" panose="02020603050405020304" pitchFamily="18" charset="0"/>
                <a:hlinkClick r:id="rId23">
                  <a:extLst>
                    <a:ext uri="{A12FA001-AC4F-418D-AE19-62706E023703}">
                      <ahyp:hlinkClr xmlns:ahyp="http://schemas.microsoft.com/office/drawing/2018/hyperlinkcolor" val="tx"/>
                    </a:ext>
                  </a:extLst>
                </a:hlinkClick>
              </a:rPr>
              <a:t>https://doc.evergage.com/display/EKB/Promotions</a:t>
            </a:r>
            <a:endParaRPr lang="en-US" sz="900" dirty="0">
              <a:cs typeface="Times New Roman" panose="02020603050405020304" pitchFamily="18" charset="0"/>
            </a:endParaRPr>
          </a:p>
          <a:p>
            <a:pPr marL="342900" indent="-342900">
              <a:buFont typeface="Arial" panose="020B0604020202020204" pitchFamily="34" charset="0"/>
              <a:buChar char="•"/>
            </a:pPr>
            <a:r>
              <a:rPr lang="en-US" sz="900" dirty="0">
                <a:hlinkClick r:id="rId24">
                  <a:extLst>
                    <a:ext uri="{A12FA001-AC4F-418D-AE19-62706E023703}">
                      <ahyp:hlinkClr xmlns:ahyp="http://schemas.microsoft.com/office/drawing/2018/hyperlinkcolor" val="tx"/>
                    </a:ext>
                  </a:extLst>
                </a:hlinkClick>
              </a:rPr>
              <a:t>https://share.vidyard.com/watch/peptFD4jZaP4F4MujKyS4P</a:t>
            </a:r>
            <a:r>
              <a:rPr lang="en-US" sz="900" dirty="0"/>
              <a:t>?</a:t>
            </a:r>
          </a:p>
          <a:p>
            <a:pPr marL="342900" indent="-342900">
              <a:buFont typeface="Arial" panose="020B0604020202020204" pitchFamily="34" charset="0"/>
              <a:buChar char="•"/>
            </a:pPr>
            <a:r>
              <a:rPr lang="en-US" sz="900" dirty="0">
                <a:hlinkClick r:id="rId25">
                  <a:extLst>
                    <a:ext uri="{A12FA001-AC4F-418D-AE19-62706E023703}">
                      <ahyp:hlinkClr xmlns:ahyp="http://schemas.microsoft.com/office/drawing/2018/hyperlinkcolor" val="tx"/>
                    </a:ext>
                  </a:extLst>
                </a:hlinkClick>
              </a:rPr>
              <a:t>https://share.vidyard.com/watch/XDv2sDR4ANP6JaD1gSifRx</a:t>
            </a:r>
            <a:r>
              <a:rPr lang="en-US" sz="900" dirty="0"/>
              <a:t>?</a:t>
            </a:r>
          </a:p>
          <a:p>
            <a:pPr marL="342900" indent="-342900">
              <a:buFont typeface="Arial" panose="020B0604020202020204" pitchFamily="34" charset="0"/>
              <a:buChar char="•"/>
            </a:pPr>
            <a:r>
              <a:rPr lang="en-US" sz="900" dirty="0">
                <a:hlinkClick r:id="rId26">
                  <a:extLst>
                    <a:ext uri="{A12FA001-AC4F-418D-AE19-62706E023703}">
                      <ahyp:hlinkClr xmlns:ahyp="http://schemas.microsoft.com/office/drawing/2018/hyperlinkcolor" val="tx"/>
                    </a:ext>
                  </a:extLst>
                </a:hlinkClick>
              </a:rPr>
              <a:t>https://share.vidyard.com/watch/T5X626STyuaeVbUiRzAXnF</a:t>
            </a:r>
            <a:r>
              <a:rPr lang="en-US" sz="900" dirty="0"/>
              <a:t>?</a:t>
            </a:r>
          </a:p>
          <a:p>
            <a:pPr marL="342900" indent="-342900">
              <a:buFont typeface="Arial" panose="020B0604020202020204" pitchFamily="34" charset="0"/>
              <a:buChar char="•"/>
            </a:pPr>
            <a:r>
              <a:rPr lang="en-US" sz="900" dirty="0">
                <a:hlinkClick r:id="rId27">
                  <a:extLst>
                    <a:ext uri="{A12FA001-AC4F-418D-AE19-62706E023703}">
                      <ahyp:hlinkClr xmlns:ahyp="http://schemas.microsoft.com/office/drawing/2018/hyperlinkcolor" val="tx"/>
                    </a:ext>
                  </a:extLst>
                </a:hlinkClick>
              </a:rPr>
              <a:t>https://share.vidyard.com/watch/1g3uFSeuY8V5F3EwM3n2q1</a:t>
            </a:r>
            <a:r>
              <a:rPr lang="en-US" sz="900" dirty="0"/>
              <a:t>?</a:t>
            </a:r>
          </a:p>
          <a:p>
            <a:pPr marL="342900" indent="-342900">
              <a:buFont typeface="Arial" panose="020B0604020202020204" pitchFamily="34" charset="0"/>
              <a:buChar char="•"/>
            </a:pPr>
            <a:r>
              <a:rPr lang="en-US" sz="900" dirty="0">
                <a:hlinkClick r:id="rId28">
                  <a:extLst>
                    <a:ext uri="{A12FA001-AC4F-418D-AE19-62706E023703}">
                      <ahyp:hlinkClr xmlns:ahyp="http://schemas.microsoft.com/office/drawing/2018/hyperlinkcolor" val="tx"/>
                    </a:ext>
                  </a:extLst>
                </a:hlinkClick>
              </a:rPr>
              <a:t>https://doc.evergage.com/display/EKB/Einstein+Recipes</a:t>
            </a:r>
            <a:endParaRPr lang="en-US" sz="900" dirty="0"/>
          </a:p>
          <a:p>
            <a:pPr marL="342900" indent="-342900">
              <a:buFont typeface="Arial" panose="020B0604020202020204" pitchFamily="34" charset="0"/>
              <a:buChar char="•"/>
            </a:pPr>
            <a:r>
              <a:rPr lang="en-US" sz="900" dirty="0">
                <a:cs typeface="Times New Roman" panose="02020603050405020304" pitchFamily="18" charset="0"/>
                <a:hlinkClick r:id="rId29">
                  <a:extLst>
                    <a:ext uri="{A12FA001-AC4F-418D-AE19-62706E023703}">
                      <ahyp:hlinkClr xmlns:ahyp="http://schemas.microsoft.com/office/drawing/2018/hyperlinkcolor" val="tx"/>
                    </a:ext>
                  </a:extLst>
                </a:hlinkClick>
              </a:rPr>
              <a:t>https://share.vidyard.com/watch/KhVXhbKNeD22cYUd3AM7xK</a:t>
            </a:r>
            <a:r>
              <a:rPr lang="en-US" sz="900" dirty="0">
                <a:cs typeface="Times New Roman" panose="02020603050405020304" pitchFamily="18" charset="0"/>
              </a:rPr>
              <a:t>?</a:t>
            </a:r>
          </a:p>
          <a:p>
            <a:pPr marL="342900" indent="-342900">
              <a:buFont typeface="Arial" panose="020B0604020202020204" pitchFamily="34" charset="0"/>
              <a:buChar char="•"/>
            </a:pPr>
            <a:r>
              <a:rPr lang="en-US" sz="900" dirty="0">
                <a:cs typeface="Times New Roman" panose="02020603050405020304" pitchFamily="18" charset="0"/>
                <a:hlinkClick r:id="rId30">
                  <a:extLst>
                    <a:ext uri="{A12FA001-AC4F-418D-AE19-62706E023703}">
                      <ahyp:hlinkClr xmlns:ahyp="http://schemas.microsoft.com/office/drawing/2018/hyperlinkcolor" val="tx"/>
                    </a:ext>
                  </a:extLst>
                </a:hlinkClick>
              </a:rPr>
              <a:t>https://share.vidyard.com/watch/9FmynA42bUgnZ5iUoC2ked</a:t>
            </a:r>
            <a:r>
              <a:rPr lang="en-US" sz="900" dirty="0">
                <a:cs typeface="Times New Roman" panose="02020603050405020304" pitchFamily="18" charset="0"/>
              </a:rPr>
              <a:t>?</a:t>
            </a:r>
            <a:endParaRPr lang="en-US" sz="800" dirty="0"/>
          </a:p>
          <a:p>
            <a:pPr marL="342900" indent="-342900">
              <a:buFont typeface="Arial" panose="020B0604020202020204" pitchFamily="34" charset="0"/>
              <a:buChar char="•"/>
            </a:pPr>
            <a:r>
              <a:rPr lang="en-US" sz="900" dirty="0">
                <a:cs typeface="Times New Roman" panose="02020603050405020304" pitchFamily="18" charset="0"/>
                <a:hlinkClick r:id="rId31">
                  <a:extLst>
                    <a:ext uri="{A12FA001-AC4F-418D-AE19-62706E023703}">
                      <ahyp:hlinkClr xmlns:ahyp="http://schemas.microsoft.com/office/drawing/2018/hyperlinkcolor" val="tx"/>
                    </a:ext>
                  </a:extLst>
                </a:hlinkClick>
              </a:rPr>
              <a:t>https://quip.com/AVYVA9wCxblH</a:t>
            </a:r>
            <a:endParaRPr lang="en-US" sz="900" dirty="0">
              <a:cs typeface="Times New Roman" panose="02020603050405020304" pitchFamily="18" charset="0"/>
            </a:endParaRPr>
          </a:p>
          <a:p>
            <a:pPr marL="342900" indent="-342900">
              <a:buFont typeface="Arial" panose="020B0604020202020204" pitchFamily="34" charset="0"/>
              <a:buChar char="•"/>
            </a:pPr>
            <a:r>
              <a:rPr lang="en-US" sz="900" dirty="0">
                <a:cs typeface="Times New Roman" panose="02020603050405020304" pitchFamily="18" charset="0"/>
                <a:hlinkClick r:id="rId32">
                  <a:extLst>
                    <a:ext uri="{A12FA001-AC4F-418D-AE19-62706E023703}">
                      <ahyp:hlinkClr xmlns:ahyp="http://schemas.microsoft.com/office/drawing/2018/hyperlinkcolor" val="tx"/>
                    </a:ext>
                  </a:extLst>
                </a:hlinkClick>
              </a:rPr>
              <a:t>https://developer.evergage.com/campaign-development/web-templates</a:t>
            </a:r>
            <a:endParaRPr lang="en-US" sz="900" dirty="0">
              <a:cs typeface="Times New Roman" panose="02020603050405020304" pitchFamily="18" charset="0"/>
            </a:endParaRPr>
          </a:p>
          <a:p>
            <a:pPr marL="342900" indent="-342900">
              <a:buFont typeface="Arial" panose="020B0604020202020204" pitchFamily="34" charset="0"/>
              <a:buChar char="•"/>
            </a:pPr>
            <a:r>
              <a:rPr lang="en-US" sz="900" dirty="0">
                <a:cs typeface="Times New Roman" panose="02020603050405020304" pitchFamily="18" charset="0"/>
                <a:hlinkClick r:id="rId33">
                  <a:extLst>
                    <a:ext uri="{A12FA001-AC4F-418D-AE19-62706E023703}">
                      <ahyp:hlinkClr xmlns:ahyp="http://schemas.microsoft.com/office/drawing/2018/hyperlinkcolor" val="tx"/>
                    </a:ext>
                  </a:extLst>
                </a:hlinkClick>
              </a:rPr>
              <a:t>https://share.vidyard.com/watch/5qB8tBrcisXJ1ZpuoD5GWZ</a:t>
            </a:r>
            <a:r>
              <a:rPr lang="en-US" sz="900" dirty="0">
                <a:cs typeface="Times New Roman" panose="02020603050405020304" pitchFamily="18" charset="0"/>
              </a:rPr>
              <a:t>?</a:t>
            </a:r>
          </a:p>
          <a:p>
            <a:pPr marL="342900" indent="-342900">
              <a:buFont typeface="Arial" panose="020B0604020202020204" pitchFamily="34" charset="0"/>
              <a:buChar char="•"/>
            </a:pPr>
            <a:r>
              <a:rPr lang="en-US" sz="900" dirty="0">
                <a:cs typeface="Times New Roman" panose="02020603050405020304" pitchFamily="18" charset="0"/>
                <a:hlinkClick r:id="rId34">
                  <a:extLst>
                    <a:ext uri="{A12FA001-AC4F-418D-AE19-62706E023703}">
                      <ahyp:hlinkClr xmlns:ahyp="http://schemas.microsoft.com/office/drawing/2018/hyperlinkcolor" val="tx"/>
                    </a:ext>
                  </a:extLst>
                </a:hlinkClick>
              </a:rPr>
              <a:t>https://doc.evergage.com/display/EKB/Create+an+Open-Time+Email+Campaign</a:t>
            </a:r>
            <a:endParaRPr lang="en-US" sz="900" dirty="0">
              <a:cs typeface="Times New Roman" panose="02020603050405020304" pitchFamily="18" charset="0"/>
            </a:endParaRPr>
          </a:p>
          <a:p>
            <a:pPr marL="342900" indent="-342900">
              <a:buFont typeface="Arial" panose="020B0604020202020204" pitchFamily="34" charset="0"/>
              <a:buChar char="•"/>
            </a:pPr>
            <a:endParaRPr lang="en-US" sz="900" dirty="0">
              <a:cs typeface="Times New Roman" panose="02020603050405020304" pitchFamily="18" charset="0"/>
            </a:endParaRPr>
          </a:p>
          <a:p>
            <a:pPr marL="342900" lvl="0" indent="-342900">
              <a:buFont typeface="Arial" panose="020B0604020202020204" pitchFamily="34" charset="0"/>
              <a:buChar char="•"/>
            </a:pPr>
            <a:endParaRPr lang="en-US" sz="900" dirty="0">
              <a:latin typeface="Open Sans"/>
              <a:cs typeface="Times New Roman" panose="02020603050405020304" pitchFamily="18" charset="0"/>
            </a:endParaRPr>
          </a:p>
        </p:txBody>
      </p:sp>
    </p:spTree>
    <p:extLst>
      <p:ext uri="{BB962C8B-B14F-4D97-AF65-F5344CB8AC3E}">
        <p14:creationId xmlns:p14="http://schemas.microsoft.com/office/powerpoint/2010/main" val="241709240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UM" val="20"/>
</p:tagLst>
</file>

<file path=ppt/tags/tag11.xml><?xml version="1.0" encoding="utf-8"?>
<p:tagLst xmlns:a="http://schemas.openxmlformats.org/drawingml/2006/main" xmlns:r="http://schemas.openxmlformats.org/officeDocument/2006/relationships" xmlns:p="http://schemas.openxmlformats.org/presentationml/2006/main">
  <p:tag name="NUM" val="20"/>
</p:tagLst>
</file>

<file path=ppt/tags/tag12.xml><?xml version="1.0" encoding="utf-8"?>
<p:tagLst xmlns:a="http://schemas.openxmlformats.org/drawingml/2006/main" xmlns:r="http://schemas.openxmlformats.org/officeDocument/2006/relationships" xmlns:p="http://schemas.openxmlformats.org/presentationml/2006/main">
  <p:tag name="NUM" val="26"/>
</p:tagLst>
</file>

<file path=ppt/tags/tag13.xml><?xml version="1.0" encoding="utf-8"?>
<p:tagLst xmlns:a="http://schemas.openxmlformats.org/drawingml/2006/main" xmlns:r="http://schemas.openxmlformats.org/officeDocument/2006/relationships" xmlns:p="http://schemas.openxmlformats.org/presentationml/2006/main">
  <p:tag name="NUM" val="25"/>
</p:tagLst>
</file>

<file path=ppt/tags/tag14.xml><?xml version="1.0" encoding="utf-8"?>
<p:tagLst xmlns:a="http://schemas.openxmlformats.org/drawingml/2006/main" xmlns:r="http://schemas.openxmlformats.org/officeDocument/2006/relationships" xmlns:p="http://schemas.openxmlformats.org/presentationml/2006/main">
  <p:tag name="NUM" val="15"/>
</p:tagLst>
</file>

<file path=ppt/tags/tag15.xml><?xml version="1.0" encoding="utf-8"?>
<p:tagLst xmlns:a="http://schemas.openxmlformats.org/drawingml/2006/main" xmlns:r="http://schemas.openxmlformats.org/officeDocument/2006/relationships" xmlns:p="http://schemas.openxmlformats.org/presentationml/2006/main">
  <p:tag name="NUM" val="22"/>
</p:tagLst>
</file>

<file path=ppt/tags/tag16.xml><?xml version="1.0" encoding="utf-8"?>
<p:tagLst xmlns:a="http://schemas.openxmlformats.org/drawingml/2006/main" xmlns:r="http://schemas.openxmlformats.org/officeDocument/2006/relationships" xmlns:p="http://schemas.openxmlformats.org/presentationml/2006/main">
  <p:tag name="NUM" val="15"/>
</p:tagLst>
</file>

<file path=ppt/tags/tag17.xml><?xml version="1.0" encoding="utf-8"?>
<p:tagLst xmlns:a="http://schemas.openxmlformats.org/drawingml/2006/main" xmlns:r="http://schemas.openxmlformats.org/officeDocument/2006/relationships" xmlns:p="http://schemas.openxmlformats.org/presentationml/2006/main">
  <p:tag name="NUM" val="22"/>
</p:tagLst>
</file>

<file path=ppt/tags/tag18.xml><?xml version="1.0" encoding="utf-8"?>
<p:tagLst xmlns:a="http://schemas.openxmlformats.org/drawingml/2006/main" xmlns:r="http://schemas.openxmlformats.org/officeDocument/2006/relationships" xmlns:p="http://schemas.openxmlformats.org/presentationml/2006/main">
  <p:tag name="NUM" val="15"/>
</p:tagLst>
</file>

<file path=ppt/tags/tag19.xml><?xml version="1.0" encoding="utf-8"?>
<p:tagLst xmlns:a="http://schemas.openxmlformats.org/drawingml/2006/main" xmlns:r="http://schemas.openxmlformats.org/officeDocument/2006/relationships" xmlns:p="http://schemas.openxmlformats.org/presentationml/2006/main">
  <p:tag name="NUM" val="22"/>
</p:tagLst>
</file>

<file path=ppt/tags/tag2.xml><?xml version="1.0" encoding="utf-8"?>
<p:tagLst xmlns:a="http://schemas.openxmlformats.org/drawingml/2006/main" xmlns:r="http://schemas.openxmlformats.org/officeDocument/2006/relationships" xmlns:p="http://schemas.openxmlformats.org/presentationml/2006/main">
  <p:tag name="NUM" val="26"/>
</p:tagLst>
</file>

<file path=ppt/tags/tag20.xml><?xml version="1.0" encoding="utf-8"?>
<p:tagLst xmlns:a="http://schemas.openxmlformats.org/drawingml/2006/main" xmlns:r="http://schemas.openxmlformats.org/officeDocument/2006/relationships" xmlns:p="http://schemas.openxmlformats.org/presentationml/2006/main">
  <p:tag name="NUM" val="15"/>
</p:tagLst>
</file>

<file path=ppt/tags/tag21.xml><?xml version="1.0" encoding="utf-8"?>
<p:tagLst xmlns:a="http://schemas.openxmlformats.org/drawingml/2006/main" xmlns:r="http://schemas.openxmlformats.org/officeDocument/2006/relationships" xmlns:p="http://schemas.openxmlformats.org/presentationml/2006/main">
  <p:tag name="NUM" val="22"/>
</p:tagLst>
</file>

<file path=ppt/tags/tag3.xml><?xml version="1.0" encoding="utf-8"?>
<p:tagLst xmlns:a="http://schemas.openxmlformats.org/drawingml/2006/main" xmlns:r="http://schemas.openxmlformats.org/officeDocument/2006/relationships" xmlns:p="http://schemas.openxmlformats.org/presentationml/2006/main">
  <p:tag name="NUM" val="25"/>
</p:tagLst>
</file>

<file path=ppt/tags/tag4.xml><?xml version="1.0" encoding="utf-8"?>
<p:tagLst xmlns:a="http://schemas.openxmlformats.org/drawingml/2006/main" xmlns:r="http://schemas.openxmlformats.org/officeDocument/2006/relationships" xmlns:p="http://schemas.openxmlformats.org/presentationml/2006/main">
  <p:tag name="NUM" val="20"/>
</p:tagLst>
</file>

<file path=ppt/tags/tag5.xml><?xml version="1.0" encoding="utf-8"?>
<p:tagLst xmlns:a="http://schemas.openxmlformats.org/drawingml/2006/main" xmlns:r="http://schemas.openxmlformats.org/officeDocument/2006/relationships" xmlns:p="http://schemas.openxmlformats.org/presentationml/2006/main">
  <p:tag name="NUM" val="26"/>
</p:tagLst>
</file>

<file path=ppt/tags/tag6.xml><?xml version="1.0" encoding="utf-8"?>
<p:tagLst xmlns:a="http://schemas.openxmlformats.org/drawingml/2006/main" xmlns:r="http://schemas.openxmlformats.org/officeDocument/2006/relationships" xmlns:p="http://schemas.openxmlformats.org/presentationml/2006/main">
  <p:tag name="NUM" val="25"/>
</p:tagLst>
</file>

<file path=ppt/tags/tag7.xml><?xml version="1.0" encoding="utf-8"?>
<p:tagLst xmlns:a="http://schemas.openxmlformats.org/drawingml/2006/main" xmlns:r="http://schemas.openxmlformats.org/officeDocument/2006/relationships" xmlns:p="http://schemas.openxmlformats.org/presentationml/2006/main">
  <p:tag name="NUM" val="26"/>
</p:tagLst>
</file>

<file path=ppt/tags/tag8.xml><?xml version="1.0" encoding="utf-8"?>
<p:tagLst xmlns:a="http://schemas.openxmlformats.org/drawingml/2006/main" xmlns:r="http://schemas.openxmlformats.org/officeDocument/2006/relationships" xmlns:p="http://schemas.openxmlformats.org/presentationml/2006/main">
  <p:tag name="NUM" val="25"/>
</p:tagLst>
</file>

<file path=ppt/tags/tag9.xml><?xml version="1.0" encoding="utf-8"?>
<p:tagLst xmlns:a="http://schemas.openxmlformats.org/drawingml/2006/main" xmlns:r="http://schemas.openxmlformats.org/officeDocument/2006/relationships" xmlns:p="http://schemas.openxmlformats.org/presentationml/2006/main">
  <p:tag name="NUM" val="20"/>
</p:tagLst>
</file>

<file path=ppt/theme/theme1.xml><?xml version="1.0" encoding="utf-8"?>
<a:theme xmlns:a="http://schemas.openxmlformats.org/drawingml/2006/main" name="Office Them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_US.potx" id="{795F17D0-D668-4BB0-993F-18D77895CF44}" vid="{55F7B453-1372-4671-A3FC-B8E911619A3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956</TotalTime>
  <Words>3420</Words>
  <Application>Microsoft Office PowerPoint</Application>
  <PresentationFormat>Widescreen</PresentationFormat>
  <Paragraphs>383</Paragraphs>
  <Slides>16</Slides>
  <Notes>15</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2</vt:i4>
      </vt:variant>
      <vt:variant>
        <vt:lpstr>Slide Titles</vt:lpstr>
      </vt:variant>
      <vt:variant>
        <vt:i4>16</vt:i4>
      </vt:variant>
    </vt:vector>
  </HeadingPairs>
  <TitlesOfParts>
    <vt:vector size="29" baseType="lpstr">
      <vt:lpstr>Arial</vt:lpstr>
      <vt:lpstr>Calibri</vt:lpstr>
      <vt:lpstr>Calibri Light</vt:lpstr>
      <vt:lpstr>Open Sans</vt:lpstr>
      <vt:lpstr>Open Sans Semibold</vt:lpstr>
      <vt:lpstr>Symbol</vt:lpstr>
      <vt:lpstr>Verdana</vt:lpstr>
      <vt:lpstr>Wingdings</vt:lpstr>
      <vt:lpstr>Wingdings 2</vt:lpstr>
      <vt:lpstr>Office Theme</vt:lpstr>
      <vt:lpstr>Deloitte Brand Theme</vt:lpstr>
      <vt:lpstr>think-cell Slide</vt:lpstr>
      <vt:lpstr>Acrobat Document</vt:lpstr>
      <vt:lpstr>Interaction Studio 2.0 Starter’s Ki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dditional Resourc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ergage Use case Timelines</dc:title>
  <dc:creator>Kashyap, Akshay</dc:creator>
  <cp:lastModifiedBy>Kashyap, Akshay</cp:lastModifiedBy>
  <cp:revision>210</cp:revision>
  <dcterms:created xsi:type="dcterms:W3CDTF">2020-07-28T07:23:59Z</dcterms:created>
  <dcterms:modified xsi:type="dcterms:W3CDTF">2021-06-24T09:5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6-24T05:45:19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65505b0a-4513-4363-a683-c4ce0c74586d</vt:lpwstr>
  </property>
  <property fmtid="{D5CDD505-2E9C-101B-9397-08002B2CF9AE}" pid="8" name="MSIP_Label_ea60d57e-af5b-4752-ac57-3e4f28ca11dc_ContentBits">
    <vt:lpwstr>0</vt:lpwstr>
  </property>
</Properties>
</file>